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146846898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horzBarState="maximized">
    <p:restoredLeft sz="14995" autoAdjust="0"/>
    <p:restoredTop sz="94660"/>
  </p:normalViewPr>
  <p:slideViewPr>
    <p:cSldViewPr snapToGrid="0">
      <p:cViewPr varScale="1">
        <p:scale>
          <a:sx n="78" d="100"/>
          <a:sy n="78" d="100"/>
        </p:scale>
        <p:origin x="84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wais Salman" userId="0bd7bc98ed6624ef" providerId="LiveId" clId="{C7F1C471-7A40-4BD0-A405-8BAD350F7CCE}"/>
    <pc:docChg chg="custSel modSld">
      <pc:chgData name="Awais Salman" userId="0bd7bc98ed6624ef" providerId="LiveId" clId="{C7F1C471-7A40-4BD0-A405-8BAD350F7CCE}" dt="2023-11-20T16:26:18.569" v="45" actId="20577"/>
      <pc:docMkLst>
        <pc:docMk/>
      </pc:docMkLst>
      <pc:sldChg chg="delSp modSp mod">
        <pc:chgData name="Awais Salman" userId="0bd7bc98ed6624ef" providerId="LiveId" clId="{C7F1C471-7A40-4BD0-A405-8BAD350F7CCE}" dt="2023-11-20T16:26:18.569" v="45" actId="20577"/>
        <pc:sldMkLst>
          <pc:docMk/>
          <pc:sldMk cId="317514304" sldId="2146846898"/>
        </pc:sldMkLst>
        <pc:spChg chg="mod">
          <ac:chgData name="Awais Salman" userId="0bd7bc98ed6624ef" providerId="LiveId" clId="{C7F1C471-7A40-4BD0-A405-8BAD350F7CCE}" dt="2023-11-20T16:26:18.569" v="45" actId="20577"/>
          <ac:spMkLst>
            <pc:docMk/>
            <pc:sldMk cId="317514304" sldId="2146846898"/>
            <ac:spMk id="215" creationId="{54730ED3-0AD9-C84A-148E-8A342529EA38}"/>
          </ac:spMkLst>
        </pc:spChg>
        <pc:spChg chg="mod">
          <ac:chgData name="Awais Salman" userId="0bd7bc98ed6624ef" providerId="LiveId" clId="{C7F1C471-7A40-4BD0-A405-8BAD350F7CCE}" dt="2023-11-20T16:25:32.048" v="4" actId="20577"/>
          <ac:spMkLst>
            <pc:docMk/>
            <pc:sldMk cId="317514304" sldId="2146846898"/>
            <ac:spMk id="737" creationId="{CDA494ED-9542-149A-BE27-7546850D0DAC}"/>
          </ac:spMkLst>
        </pc:spChg>
        <pc:spChg chg="del">
          <ac:chgData name="Awais Salman" userId="0bd7bc98ed6624ef" providerId="LiveId" clId="{C7F1C471-7A40-4BD0-A405-8BAD350F7CCE}" dt="2023-11-20T16:25:35.063" v="5" actId="478"/>
          <ac:spMkLst>
            <pc:docMk/>
            <pc:sldMk cId="317514304" sldId="2146846898"/>
            <ac:spMk id="974" creationId="{6CACD2A9-FEA7-8CE2-10B7-5129E72088AE}"/>
          </ac:spMkLst>
        </pc:spChg>
      </pc:sldChg>
    </pc:docChg>
  </pc:docChgLst>
  <pc:docChgLst>
    <pc:chgData name="Awais Salman" userId="0bd7bc98ed6624ef" providerId="LiveId" clId="{1560AA54-563A-4510-99CE-74F981F30D23}"/>
    <pc:docChg chg="modMainMaster">
      <pc:chgData name="Awais Salman" userId="0bd7bc98ed6624ef" providerId="LiveId" clId="{1560AA54-563A-4510-99CE-74F981F30D23}" dt="2024-09-19T19:43:34.168" v="1" actId="20577"/>
      <pc:docMkLst>
        <pc:docMk/>
      </pc:docMkLst>
      <pc:sldMasterChg chg="modSp mod">
        <pc:chgData name="Awais Salman" userId="0bd7bc98ed6624ef" providerId="LiveId" clId="{1560AA54-563A-4510-99CE-74F981F30D23}" dt="2024-09-19T19:43:34.168" v="1" actId="20577"/>
        <pc:sldMasterMkLst>
          <pc:docMk/>
          <pc:sldMasterMk cId="302544714" sldId="2147483660"/>
        </pc:sldMasterMkLst>
        <pc:spChg chg="mod">
          <ac:chgData name="Awais Salman" userId="0bd7bc98ed6624ef" providerId="LiveId" clId="{1560AA54-563A-4510-99CE-74F981F30D23}" dt="2024-09-19T19:43:34.168" v="1" actId="20577"/>
          <ac:spMkLst>
            <pc:docMk/>
            <pc:sldMasterMk cId="302544714" sldId="2147483660"/>
            <ac:spMk id="15" creationId="{EBC4F222-D709-4CFC-8338-47C9C26E843E}"/>
          </ac:spMkLst>
        </pc:spChg>
      </pc:sldMasterChg>
    </pc:docChg>
  </pc:docChgLst>
  <pc:docChgLst>
    <pc:chgData name="Awais Salman" userId="0bd7bc98ed6624ef" providerId="LiveId" clId="{5259D451-B1E3-4964-8FD0-D49818FF90AD}"/>
    <pc:docChg chg="undo custSel addSld delSld modSld">
      <pc:chgData name="Awais Salman" userId="0bd7bc98ed6624ef" providerId="LiveId" clId="{5259D451-B1E3-4964-8FD0-D49818FF90AD}" dt="2023-11-12T20:49:54.098" v="36" actId="6549"/>
      <pc:docMkLst>
        <pc:docMk/>
      </pc:docMkLst>
      <pc:sldChg chg="delSp modSp del mod">
        <pc:chgData name="Awais Salman" userId="0bd7bc98ed6624ef" providerId="LiveId" clId="{5259D451-B1E3-4964-8FD0-D49818FF90AD}" dt="2023-11-12T20:49:24.783" v="29" actId="47"/>
        <pc:sldMkLst>
          <pc:docMk/>
          <pc:sldMk cId="3729859324" sldId="2146846897"/>
        </pc:sldMkLst>
        <pc:spChg chg="del mod">
          <ac:chgData name="Awais Salman" userId="0bd7bc98ed6624ef" providerId="LiveId" clId="{5259D451-B1E3-4964-8FD0-D49818FF90AD}" dt="2023-11-12T20:48:13.528" v="21"/>
          <ac:spMkLst>
            <pc:docMk/>
            <pc:sldMk cId="3729859324" sldId="2146846897"/>
            <ac:spMk id="15" creationId="{32820077-D01B-672D-7425-71C184FAD591}"/>
          </ac:spMkLst>
        </pc:spChg>
        <pc:spChg chg="mod">
          <ac:chgData name="Awais Salman" userId="0bd7bc98ed6624ef" providerId="LiveId" clId="{5259D451-B1E3-4964-8FD0-D49818FF90AD}" dt="2023-11-12T20:49:19.296" v="27" actId="1076"/>
          <ac:spMkLst>
            <pc:docMk/>
            <pc:sldMk cId="3729859324" sldId="2146846897"/>
            <ac:spMk id="18" creationId="{DA664C62-7C2A-4362-62C8-E8DBC9612902}"/>
          </ac:spMkLst>
        </pc:spChg>
        <pc:spChg chg="del mod">
          <ac:chgData name="Awais Salman" userId="0bd7bc98ed6624ef" providerId="LiveId" clId="{5259D451-B1E3-4964-8FD0-D49818FF90AD}" dt="2023-11-12T20:48:13.530" v="23"/>
          <ac:spMkLst>
            <pc:docMk/>
            <pc:sldMk cId="3729859324" sldId="2146846897"/>
            <ac:spMk id="22" creationId="{24DBAEE3-68B1-1356-7136-31BF6BE7AD1B}"/>
          </ac:spMkLst>
        </pc:spChg>
        <pc:spChg chg="del mod">
          <ac:chgData name="Awais Salman" userId="0bd7bc98ed6624ef" providerId="LiveId" clId="{5259D451-B1E3-4964-8FD0-D49818FF90AD}" dt="2023-11-12T20:48:13.532" v="25"/>
          <ac:spMkLst>
            <pc:docMk/>
            <pc:sldMk cId="3729859324" sldId="2146846897"/>
            <ac:spMk id="57" creationId="{4C744768-D8FD-8453-E22D-70F7198B67F9}"/>
          </ac:spMkLst>
        </pc:spChg>
        <pc:spChg chg="mod">
          <ac:chgData name="Awais Salman" userId="0bd7bc98ed6624ef" providerId="LiveId" clId="{5259D451-B1E3-4964-8FD0-D49818FF90AD}" dt="2023-11-12T20:48:09.195" v="18" actId="6549"/>
          <ac:spMkLst>
            <pc:docMk/>
            <pc:sldMk cId="3729859324" sldId="2146846897"/>
            <ac:spMk id="957" creationId="{DEDF5963-F20D-CAB9-D3B6-356DFEF1158E}"/>
          </ac:spMkLst>
        </pc:spChg>
        <pc:spChg chg="mod">
          <ac:chgData name="Awais Salman" userId="0bd7bc98ed6624ef" providerId="LiveId" clId="{5259D451-B1E3-4964-8FD0-D49818FF90AD}" dt="2023-11-12T20:47:59.711" v="16" actId="6549"/>
          <ac:spMkLst>
            <pc:docMk/>
            <pc:sldMk cId="3729859324" sldId="2146846897"/>
            <ac:spMk id="980" creationId="{67B9D314-DDDB-83BA-B4EA-F8C4D078D6DE}"/>
          </ac:spMkLst>
        </pc:spChg>
        <pc:spChg chg="mod">
          <ac:chgData name="Awais Salman" userId="0bd7bc98ed6624ef" providerId="LiveId" clId="{5259D451-B1E3-4964-8FD0-D49818FF90AD}" dt="2023-11-12T20:48:06.498" v="17" actId="6549"/>
          <ac:spMkLst>
            <pc:docMk/>
            <pc:sldMk cId="3729859324" sldId="2146846897"/>
            <ac:spMk id="981" creationId="{D2AB20CE-61AC-35F1-3B3A-35190C86A942}"/>
          </ac:spMkLst>
        </pc:spChg>
        <pc:spChg chg="mod">
          <ac:chgData name="Awais Salman" userId="0bd7bc98ed6624ef" providerId="LiveId" clId="{5259D451-B1E3-4964-8FD0-D49818FF90AD}" dt="2023-11-12T20:48:11.930" v="19" actId="6549"/>
          <ac:spMkLst>
            <pc:docMk/>
            <pc:sldMk cId="3729859324" sldId="2146846897"/>
            <ac:spMk id="982" creationId="{3A2DB06A-9C2E-835E-F472-3CE5AD63220C}"/>
          </ac:spMkLst>
        </pc:spChg>
      </pc:sldChg>
      <pc:sldChg chg="modSp add mod">
        <pc:chgData name="Awais Salman" userId="0bd7bc98ed6624ef" providerId="LiveId" clId="{5259D451-B1E3-4964-8FD0-D49818FF90AD}" dt="2023-11-12T20:49:54.098" v="36" actId="6549"/>
        <pc:sldMkLst>
          <pc:docMk/>
          <pc:sldMk cId="317514304" sldId="2146846898"/>
        </pc:sldMkLst>
        <pc:spChg chg="mod">
          <ac:chgData name="Awais Salman" userId="0bd7bc98ed6624ef" providerId="LiveId" clId="{5259D451-B1E3-4964-8FD0-D49818FF90AD}" dt="2023-11-12T20:49:29.457" v="30" actId="20577"/>
          <ac:spMkLst>
            <pc:docMk/>
            <pc:sldMk cId="317514304" sldId="2146846898"/>
            <ac:spMk id="15" creationId="{32820077-D01B-672D-7425-71C184FAD591}"/>
          </ac:spMkLst>
        </pc:spChg>
        <pc:spChg chg="mod">
          <ac:chgData name="Awais Salman" userId="0bd7bc98ed6624ef" providerId="LiveId" clId="{5259D451-B1E3-4964-8FD0-D49818FF90AD}" dt="2023-11-12T20:49:35.692" v="31" actId="6549"/>
          <ac:spMkLst>
            <pc:docMk/>
            <pc:sldMk cId="317514304" sldId="2146846898"/>
            <ac:spMk id="22" creationId="{24DBAEE3-68B1-1356-7136-31BF6BE7AD1B}"/>
          </ac:spMkLst>
        </pc:spChg>
        <pc:spChg chg="mod">
          <ac:chgData name="Awais Salman" userId="0bd7bc98ed6624ef" providerId="LiveId" clId="{5259D451-B1E3-4964-8FD0-D49818FF90AD}" dt="2023-11-12T20:49:38.919" v="32" actId="20577"/>
          <ac:spMkLst>
            <pc:docMk/>
            <pc:sldMk cId="317514304" sldId="2146846898"/>
            <ac:spMk id="57" creationId="{4C744768-D8FD-8453-E22D-70F7198B67F9}"/>
          </ac:spMkLst>
        </pc:spChg>
        <pc:spChg chg="mod">
          <ac:chgData name="Awais Salman" userId="0bd7bc98ed6624ef" providerId="LiveId" clId="{5259D451-B1E3-4964-8FD0-D49818FF90AD}" dt="2023-11-12T20:49:51.230" v="35" actId="6549"/>
          <ac:spMkLst>
            <pc:docMk/>
            <pc:sldMk cId="317514304" sldId="2146846898"/>
            <ac:spMk id="957" creationId="{DEDF5963-F20D-CAB9-D3B6-356DFEF1158E}"/>
          </ac:spMkLst>
        </pc:spChg>
        <pc:spChg chg="mod">
          <ac:chgData name="Awais Salman" userId="0bd7bc98ed6624ef" providerId="LiveId" clId="{5259D451-B1E3-4964-8FD0-D49818FF90AD}" dt="2023-11-12T20:49:43.864" v="33" actId="6549"/>
          <ac:spMkLst>
            <pc:docMk/>
            <pc:sldMk cId="317514304" sldId="2146846898"/>
            <ac:spMk id="980" creationId="{67B9D314-DDDB-83BA-B4EA-F8C4D078D6DE}"/>
          </ac:spMkLst>
        </pc:spChg>
        <pc:spChg chg="mod">
          <ac:chgData name="Awais Salman" userId="0bd7bc98ed6624ef" providerId="LiveId" clId="{5259D451-B1E3-4964-8FD0-D49818FF90AD}" dt="2023-11-12T20:49:46.331" v="34" actId="6549"/>
          <ac:spMkLst>
            <pc:docMk/>
            <pc:sldMk cId="317514304" sldId="2146846898"/>
            <ac:spMk id="981" creationId="{D2AB20CE-61AC-35F1-3B3A-35190C86A942}"/>
          </ac:spMkLst>
        </pc:spChg>
        <pc:spChg chg="mod">
          <ac:chgData name="Awais Salman" userId="0bd7bc98ed6624ef" providerId="LiveId" clId="{5259D451-B1E3-4964-8FD0-D49818FF90AD}" dt="2023-11-12T20:49:54.098" v="36" actId="6549"/>
          <ac:spMkLst>
            <pc:docMk/>
            <pc:sldMk cId="317514304" sldId="2146846898"/>
            <ac:spMk id="982" creationId="{3A2DB06A-9C2E-835E-F472-3CE5AD63220C}"/>
          </ac:spMkLst>
        </pc:spChg>
      </pc:sldChg>
      <pc:sldChg chg="add del">
        <pc:chgData name="Awais Salman" userId="0bd7bc98ed6624ef" providerId="LiveId" clId="{5259D451-B1E3-4964-8FD0-D49818FF90AD}" dt="2023-11-12T20:47:41.782" v="11" actId="47"/>
        <pc:sldMkLst>
          <pc:docMk/>
          <pc:sldMk cId="1846280922" sldId="2147328675"/>
        </pc:sldMkLst>
      </pc:sldChg>
      <pc:sldMasterChg chg="delSldLayout">
        <pc:chgData name="Awais Salman" userId="0bd7bc98ed6624ef" providerId="LiveId" clId="{5259D451-B1E3-4964-8FD0-D49818FF90AD}" dt="2023-11-12T20:46:18.752" v="10" actId="47"/>
        <pc:sldMasterMkLst>
          <pc:docMk/>
          <pc:sldMasterMk cId="765272352" sldId="2147483648"/>
        </pc:sldMasterMkLst>
        <pc:sldLayoutChg chg="del">
          <pc:chgData name="Awais Salman" userId="0bd7bc98ed6624ef" providerId="LiveId" clId="{5259D451-B1E3-4964-8FD0-D49818FF90AD}" dt="2023-11-12T20:46:18.752" v="10" actId="47"/>
          <pc:sldLayoutMkLst>
            <pc:docMk/>
            <pc:sldMasterMk cId="765272352" sldId="2147483648"/>
            <pc:sldLayoutMk cId="515437971" sldId="214748366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6C16A6-BAB8-4637-81D8-0E6CBFB9C109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47B405-C6EE-4E45-BF3E-953B795075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579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noProof="0"/>
              <a:t>Notice </a:t>
            </a:r>
            <a:fld id="{84EE17C3-51E0-4A9C-B3A8-E6548E6A9E95}" type="slidenum">
              <a:rPr lang="en-US" noProof="0" smtClean="0"/>
              <a:pPr/>
              <a:t>1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46166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image" Target="../media/image8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5.emf"/><Relationship Id="rId4" Type="http://schemas.openxmlformats.org/officeDocument/2006/relationships/image" Target="../media/image10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image" Target="../media/image12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image" Target="../media/image4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image" Target="../media/image8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5.emf"/><Relationship Id="rId4" Type="http://schemas.openxmlformats.org/officeDocument/2006/relationships/image" Target="../media/image4.sv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9.xml"/><Relationship Id="rId7" Type="http://schemas.openxmlformats.org/officeDocument/2006/relationships/image" Target="../media/image1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siemens-energy.com/" TargetMode="External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emf"/><Relationship Id="rId4" Type="http://schemas.openxmlformats.org/officeDocument/2006/relationships/image" Target="../media/image10.sv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8.em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7.xml"/><Relationship Id="rId7" Type="http://schemas.openxmlformats.org/officeDocument/2006/relationships/image" Target="../media/image20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9.jpeg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34D26-0433-16D3-088F-23D38AD173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623B69-63AF-229C-A6E7-2B6F17D661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25B77E-004D-1972-83A5-E0E270CAC3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28530B-FEB3-C39B-2AA3-3E7434559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A2AFE6-1AA4-7264-6129-513F1B6A56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F6F5F0-30ED-979A-1D7E-4B1172DCD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7011D4-73C5-4302-6C6A-396EFE079A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709DFD-D1C7-6D44-678B-F71B40C20A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90DA13-3D2B-0DDB-ED70-3F2350A64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1AA31E-767F-263C-4162-719BC4A69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183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12C6155-97FD-D3AC-25EF-33A98FA1645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6D8C11-7A36-8393-3FFE-C9621E5AA9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C68929-904C-7B9B-4852-F54AA2953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CBB4DB-620C-7488-4F46-CB7342EF07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8868F-4DE4-C7D4-DAA8-3AEB58A21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3896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July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cdtTextBox 12 Id17">
            <a:extLst>
              <a:ext uri="{FF2B5EF4-FFF2-40B4-BE49-F238E27FC236}">
                <a16:creationId xmlns:a16="http://schemas.microsoft.com/office/drawing/2014/main" id="{863354E9-2182-4503-133D-8ED2F1989DA5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898804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July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EBAF4960-C73A-E349-AA79-131897FCD112}"/>
              </a:ext>
            </a:extLst>
          </p:cNvPr>
          <p:cNvSpPr>
            <a:spLocks/>
          </p:cNvSpPr>
          <p:nvPr userDrawn="1"/>
        </p:nvSpPr>
        <p:spPr>
          <a:xfrm>
            <a:off x="4792306" y="1623522"/>
            <a:ext cx="6991963" cy="6991960"/>
          </a:xfrm>
          <a:prstGeom prst="rect">
            <a:avLst/>
          </a:prstGeom>
          <a:gradFill flip="none" rotWithShape="1">
            <a:gsLst>
              <a:gs pos="71000">
                <a:schemeClr val="bg1">
                  <a:alpha val="0"/>
                </a:schemeClr>
              </a:gs>
              <a:gs pos="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35923A9-44C3-6047-9189-8FC826E6DC6B}"/>
              </a:ext>
            </a:extLst>
          </p:cNvPr>
          <p:cNvGrpSpPr/>
          <p:nvPr userDrawn="1"/>
        </p:nvGrpSpPr>
        <p:grpSpPr>
          <a:xfrm>
            <a:off x="4331156" y="-1367588"/>
            <a:ext cx="3821787" cy="4297959"/>
            <a:chOff x="67468" y="1003645"/>
            <a:chExt cx="3821787" cy="4297959"/>
          </a:xfrm>
        </p:grpSpPr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FCD5299B-AD04-D049-941A-2AE7C286F4B1}"/>
                </a:ext>
              </a:extLst>
            </p:cNvPr>
            <p:cNvSpPr/>
            <p:nvPr/>
          </p:nvSpPr>
          <p:spPr>
            <a:xfrm rot="18010104">
              <a:off x="67102" y="4313208"/>
              <a:ext cx="168719" cy="167987"/>
            </a:xfrm>
            <a:custGeom>
              <a:avLst/>
              <a:gdLst>
                <a:gd name="connsiteX0" fmla="*/ 168720 w 168719"/>
                <a:gd name="connsiteY0" fmla="*/ 83988 h 167987"/>
                <a:gd name="connsiteX1" fmla="*/ 84732 w 168719"/>
                <a:gd name="connsiteY1" fmla="*/ 167977 h 167987"/>
                <a:gd name="connsiteX2" fmla="*/ 0 w 168719"/>
                <a:gd name="connsiteY2" fmla="*/ 83988 h 167987"/>
                <a:gd name="connsiteX3" fmla="*/ 83988 w 168719"/>
                <a:gd name="connsiteY3" fmla="*/ 0 h 167987"/>
                <a:gd name="connsiteX4" fmla="*/ 168720 w 168719"/>
                <a:gd name="connsiteY4" fmla="*/ 83988 h 167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719" h="167987">
                  <a:moveTo>
                    <a:pt x="168720" y="83988"/>
                  </a:moveTo>
                  <a:cubicBezTo>
                    <a:pt x="168720" y="130814"/>
                    <a:pt x="130814" y="167977"/>
                    <a:pt x="84732" y="167977"/>
                  </a:cubicBezTo>
                  <a:cubicBezTo>
                    <a:pt x="37906" y="168720"/>
                    <a:pt x="0" y="130814"/>
                    <a:pt x="0" y="83988"/>
                  </a:cubicBezTo>
                  <a:cubicBezTo>
                    <a:pt x="0" y="37163"/>
                    <a:pt x="37906" y="0"/>
                    <a:pt x="83988" y="0"/>
                  </a:cubicBezTo>
                  <a:cubicBezTo>
                    <a:pt x="130814" y="0"/>
                    <a:pt x="168720" y="37906"/>
                    <a:pt x="168720" y="83988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75935259-3BBB-1D47-80B3-A9E29A11AE64}"/>
                </a:ext>
              </a:extLst>
            </p:cNvPr>
            <p:cNvSpPr/>
            <p:nvPr/>
          </p:nvSpPr>
          <p:spPr>
            <a:xfrm rot="18010104">
              <a:off x="3804524" y="1175743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6240EC3A-2070-F64D-B81D-78C24A95DA8E}"/>
                </a:ext>
              </a:extLst>
            </p:cNvPr>
            <p:cNvSpPr/>
            <p:nvPr/>
          </p:nvSpPr>
          <p:spPr>
            <a:xfrm rot="18010104">
              <a:off x="1780418" y="1627458"/>
              <a:ext cx="84731" cy="84731"/>
            </a:xfrm>
            <a:custGeom>
              <a:avLst/>
              <a:gdLst>
                <a:gd name="connsiteX0" fmla="*/ 84731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1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1" y="42366"/>
                  </a:moveTo>
                  <a:cubicBezTo>
                    <a:pt x="84731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5407" y="743"/>
                    <a:pt x="84731" y="19325"/>
                    <a:pt x="84731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5" name="Freihandform: Form 13">
              <a:extLst>
                <a:ext uri="{FF2B5EF4-FFF2-40B4-BE49-F238E27FC236}">
                  <a16:creationId xmlns:a16="http://schemas.microsoft.com/office/drawing/2014/main" id="{604213E9-8F2A-F947-8B37-25B38AFADDD7}"/>
                </a:ext>
              </a:extLst>
            </p:cNvPr>
            <p:cNvSpPr/>
            <p:nvPr/>
          </p:nvSpPr>
          <p:spPr>
            <a:xfrm rot="18010104">
              <a:off x="378265" y="2594155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6" name="Freihandform: Form 14">
              <a:extLst>
                <a:ext uri="{FF2B5EF4-FFF2-40B4-BE49-F238E27FC236}">
                  <a16:creationId xmlns:a16="http://schemas.microsoft.com/office/drawing/2014/main" id="{B72B6ACC-A6A3-594C-BF27-6F090A25ED3D}"/>
                </a:ext>
              </a:extLst>
            </p:cNvPr>
            <p:cNvSpPr/>
            <p:nvPr/>
          </p:nvSpPr>
          <p:spPr>
            <a:xfrm rot="18010104">
              <a:off x="2838863" y="1003645"/>
              <a:ext cx="41622" cy="41622"/>
            </a:xfrm>
            <a:custGeom>
              <a:avLst/>
              <a:gdLst>
                <a:gd name="connsiteX0" fmla="*/ 41623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3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3" y="20811"/>
                  </a:moveTo>
                  <a:cubicBezTo>
                    <a:pt x="41623" y="32703"/>
                    <a:pt x="31960" y="41623"/>
                    <a:pt x="20811" y="41623"/>
                  </a:cubicBezTo>
                  <a:cubicBezTo>
                    <a:pt x="9662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3" y="9662"/>
                    <a:pt x="41623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7" name="Freihandform: Form 15">
              <a:extLst>
                <a:ext uri="{FF2B5EF4-FFF2-40B4-BE49-F238E27FC236}">
                  <a16:creationId xmlns:a16="http://schemas.microsoft.com/office/drawing/2014/main" id="{CCA41486-370F-A746-BE23-06EB8E060578}"/>
                </a:ext>
              </a:extLst>
            </p:cNvPr>
            <p:cNvSpPr/>
            <p:nvPr/>
          </p:nvSpPr>
          <p:spPr>
            <a:xfrm rot="18010104">
              <a:off x="779475" y="5259982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8" name="Freihandform: Form 16">
              <a:extLst>
                <a:ext uri="{FF2B5EF4-FFF2-40B4-BE49-F238E27FC236}">
                  <a16:creationId xmlns:a16="http://schemas.microsoft.com/office/drawing/2014/main" id="{B02E3FE5-7F96-B64A-B727-BD2DDF8F9033}"/>
                </a:ext>
              </a:extLst>
            </p:cNvPr>
            <p:cNvSpPr/>
            <p:nvPr/>
          </p:nvSpPr>
          <p:spPr>
            <a:xfrm rot="18010104">
              <a:off x="2305919" y="4441256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Grafik 18" descr="Ein Bild, das Stern enthält.&#10;&#10;Automatisch generierte Beschreibung">
            <a:extLst>
              <a:ext uri="{FF2B5EF4-FFF2-40B4-BE49-F238E27FC236}">
                <a16:creationId xmlns:a16="http://schemas.microsoft.com/office/drawing/2014/main" id="{71EA36E8-27E7-A644-88CA-F941B23DA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424227" flipH="1">
            <a:off x="5878827" y="686074"/>
            <a:ext cx="5085041" cy="5395150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047209BC-8910-12E7-E931-5EF9FCEDA6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0863244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29A6FFAD-C17A-B4E8-240B-C605DA2738EB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lvl="0"/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576255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105A39F4-7879-051D-D290-7D67556CD64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4050384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cdtTextBox 12 Id17">
            <a:extLst>
              <a:ext uri="{FF2B5EF4-FFF2-40B4-BE49-F238E27FC236}">
                <a16:creationId xmlns:a16="http://schemas.microsoft.com/office/drawing/2014/main" id="{526C96B7-60B7-572F-8AD3-10B278122B9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065952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964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0108D4AB-9688-41D1-B0EE-85800E67392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191B663D-EB23-0030-5927-D2A621F0D5B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39498867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1DE39B38-513C-4C4B-9F03-FC4B2D20074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337D0F63-7F1D-A760-F2D6-88595457ADB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425929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A7065-E898-3D86-122B-3A0012F58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D5BC4A-23E7-770F-F451-D1A80C1C7E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91C1A6-E5E1-BA00-624B-4935D0C22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7B4AA2-6AD3-7827-5D05-54AFFE24C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972346-1CD4-80C1-F481-BB0143750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7298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y Presentation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DB1A54EC-A3D1-455B-9B10-BD6E66386C62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C919E97D-D0D7-4452-9AE1-B53A83705AE1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72460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y Presentation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6087BB6B-DC15-4BC4-A21C-1782CB4DA41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1165FF04-33A4-4A92-BC1A-FEE8C6CECB0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804410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69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35B676A-1967-447F-9CAE-69D52FC83DD5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F87BD5C2-034E-A753-E4B7-51E21D4CC87F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8903047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82BE5B3D-7992-492A-8060-97136D5B397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4" name="License statement">
            <a:extLst>
              <a:ext uri="{FF2B5EF4-FFF2-40B4-BE49-F238E27FC236}">
                <a16:creationId xmlns:a16="http://schemas.microsoft.com/office/drawing/2014/main" id="{B7CADBCA-4DE1-404E-BF7C-ADF2A140AC0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487C015F-913C-48DD-99E5-F1AEE0B2AC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7" name="cdtTextBox 12 Id17">
            <a:extLst>
              <a:ext uri="{FF2B5EF4-FFF2-40B4-BE49-F238E27FC236}">
                <a16:creationId xmlns:a16="http://schemas.microsoft.com/office/drawing/2014/main" id="{67209329-0579-9CF0-5D03-2F136BDE06E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091369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123" t="21730" r="42206" b="36603"/>
          <a:stretch/>
        </p:blipFill>
        <p:spPr bwMode="invGray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able</a:t>
            </a: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6C6E93D-807F-4E17-B486-DCE68B9A6AD6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707EC8F-0BAC-4C6F-976E-7D5099EDD66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3ED05DC8-5BA8-F1AB-4459-54BD60183B1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318960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3173928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17148863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39809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6771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D3545-5C75-6F5B-C1A2-BAC98A6C07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3BF0A6-46D4-64AB-7C3C-51F95EC442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1E5E7-6620-0C11-2C34-13B16E3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9FECCD-E774-4F4F-229F-E099945E8C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712D9B-30E3-12D4-D9B8-03918DC3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0615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18244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5489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26B59EE3-28D9-4EE0-A21D-F6EDC9D80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9029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Big statement on a full size picture</a:t>
            </a:r>
            <a:endParaRPr lang="de-DE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EBA0E649-FA98-403D-8591-5907B15C57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015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36151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3432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18943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55300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941562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19631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5FAA79-316A-5F48-CE86-859E3143F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D0D66A-37A8-601D-6F8C-C24D29533C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BAE137-87DF-00FE-ED55-79CCA90BAD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A7A3B6-DEDD-758B-DDE9-49D6CEC9F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D5C36A-2D27-73BA-39D0-A3FE3AEEB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7FDDC6-48C5-17F8-C9F4-B5D8D8B76F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2830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14679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4573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0266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36930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7826ABC-B0B5-42A8-83E0-A64A285DEA00}"/>
              </a:ext>
            </a:extLst>
          </p:cNvPr>
          <p:cNvSpPr/>
          <p:nvPr userDrawn="1"/>
        </p:nvSpPr>
        <p:spPr>
          <a:xfrm>
            <a:off x="0" y="0"/>
            <a:ext cx="12191999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F4D9CAD-7F61-4294-814A-11977ED4F4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69265B20-91D0-12DB-D37A-5BA8C42C5F1A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36819482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276739E7-354E-4450-8E41-F018556F4A4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2AB47C1C-02B6-4AFE-AFEB-106EF1B582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2" name="cdtTextBox 12 Id17">
            <a:extLst>
              <a:ext uri="{FF2B5EF4-FFF2-40B4-BE49-F238E27FC236}">
                <a16:creationId xmlns:a16="http://schemas.microsoft.com/office/drawing/2014/main" id="{C2845D84-04B6-CA0F-B759-CD49AE33EB0E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510213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FE7FA8-1217-4A54-AB03-6D45560D6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069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44" imgH="443" progId="TCLayout.ActiveDocument.1">
                  <p:embed/>
                </p:oleObj>
              </mc:Choice>
              <mc:Fallback>
                <p:oleObj name="think-cell Folie" r:id="rId5" imgW="444" imgH="44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FE7FA8-1217-4A54-AB03-6D45560D6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4935157-AA5E-4794-8AD4-0C9B740F5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D3C2AC4-2275-4AEE-9B2C-6C2589DB381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6" name="cdtTextBox 12 Id17">
            <a:extLst>
              <a:ext uri="{FF2B5EF4-FFF2-40B4-BE49-F238E27FC236}">
                <a16:creationId xmlns:a16="http://schemas.microsoft.com/office/drawing/2014/main" id="{245CFB13-F47D-2E37-5611-A5B0D49D38D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390221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A36403A9-DD55-4A7C-B5D5-FBC5E48F3E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7" name="cdtTextBox 12 Id17">
            <a:extLst>
              <a:ext uri="{FF2B5EF4-FFF2-40B4-BE49-F238E27FC236}">
                <a16:creationId xmlns:a16="http://schemas.microsoft.com/office/drawing/2014/main" id="{47B86446-6B43-D5E9-B1CB-7F0D8367DED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>
                <a:solidFill>
                  <a:schemeClr val="bg1"/>
                </a:solidFill>
              </a:rPr>
              <a:t>Large-scale Heat Pump | Page </a:t>
            </a:r>
            <a:fld id="{91E7552C-A157-4A4F-8E99-698C0325FC94}" type="slidenum">
              <a:rPr lang="en-US" noProof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>
              <a:solidFill>
                <a:schemeClr val="bg1"/>
              </a:solidFill>
            </a:endParaRPr>
          </a:p>
          <a:p>
            <a:pPr lvl="0"/>
            <a:r>
              <a:rPr lang="en-US" noProof="0">
                <a:solidFill>
                  <a:schemeClr val="bg1"/>
                </a:solidFill>
              </a:rPr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687967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A7ED97CA-7854-4C4E-9575-C33766B3785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4E9EFD03-D2DB-75C9-C4AB-28E522D5A8D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447855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July 2023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BEDF5B97-0427-4D3E-9979-BA37989D4D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0070904B-7D03-6E51-3AA6-DA1CA65F775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99342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9396C-708E-5CF1-FF97-29AFDEE02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6B6AA6-9FD8-7466-9232-B816EE7B51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DE7F05-54D0-E000-55B0-8994DB8A2A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C5A973-073A-FC0F-C9B1-0370710393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4BC7E8D-D757-429D-4BCD-661AA896702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1CEC201-AC47-AE59-B904-19B47399C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389E200-DB26-F4BB-3D93-A9A7064D8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BCA7C8-7BF2-CE71-659B-C9744AB29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0866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EBF51F12-AF8D-E669-6D47-74C26E14FC0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999848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hlinkClick r:id="rId2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sp>
        <p:nvSpPr>
          <p:cNvPr id="10" name="License statement">
            <a:extLst>
              <a:ext uri="{FF2B5EF4-FFF2-40B4-BE49-F238E27FC236}">
                <a16:creationId xmlns:a16="http://schemas.microsoft.com/office/drawing/2014/main" id="{7A9560F1-3DB3-46C0-AE0C-BFB3B155872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err="1">
                <a:solidFill>
                  <a:schemeClr val="accent6"/>
                </a:solidFill>
              </a:rPr>
              <a:t>Siemergy</a:t>
            </a:r>
            <a:r>
              <a:rPr lang="en-US" sz="1000" b="0" noProof="0">
                <a:solidFill>
                  <a:schemeClr val="accent6"/>
                </a:solidFill>
              </a:rPr>
              <a:t> is a trademark licensed by Siemens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0733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CDE40B-1D31-476C-831F-111D92E62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1BCDFF5-2CF1-4E74-92F5-73E1E97ADE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7389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114433"/>
              </p:ext>
            </p:extLst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2000" cy="141254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6735" y="1412874"/>
            <a:ext cx="11082916" cy="215394"/>
          </a:xfrm>
        </p:spPr>
        <p:txBody>
          <a:bodyPr/>
          <a:lstStyle>
            <a:lvl1pPr marL="0" indent="0">
              <a:defRPr/>
            </a:lvl1pPr>
            <a:lvl2pPr marL="155497" indent="-155497">
              <a:defRPr/>
            </a:lvl2pPr>
            <a:lvl3pPr marL="310994" indent="-155497">
              <a:defRPr/>
            </a:lvl3pPr>
            <a:lvl4pPr marL="466492" indent="-155497">
              <a:defRPr/>
            </a:lvl4pPr>
            <a:lvl5pPr marL="621989" indent="-155497">
              <a:defRPr/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48022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picture"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C8378F81-9ABB-49E0-93C4-2E646FED82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10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95" imgH="396" progId="TCLayout.ActiveDocument.1">
                  <p:embed/>
                </p:oleObj>
              </mc:Choice>
              <mc:Fallback>
                <p:oleObj name="think-cell Folie" r:id="rId6" imgW="395" imgH="39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C8378F81-9ABB-49E0-93C4-2E646FED82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FB1CA9FD-0D17-469E-9F39-771678A156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398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grpSp>
        <p:nvGrpSpPr>
          <p:cNvPr id="61" name="Gruppieren 3">
            <a:extLst>
              <a:ext uri="{FF2B5EF4-FFF2-40B4-BE49-F238E27FC236}">
                <a16:creationId xmlns:a16="http://schemas.microsoft.com/office/drawing/2014/main" id="{04EABD9C-FD7F-4E1B-A26F-1860F5CCFA6B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2" name="Gerade Verbindung 2">
              <a:extLst>
                <a:ext uri="{FF2B5EF4-FFF2-40B4-BE49-F238E27FC236}">
                  <a16:creationId xmlns:a16="http://schemas.microsoft.com/office/drawing/2014/main" id="{89A05FB9-9C1D-48BE-A30B-AE726E89CA28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5">
              <a:extLst>
                <a:ext uri="{FF2B5EF4-FFF2-40B4-BE49-F238E27FC236}">
                  <a16:creationId xmlns:a16="http://schemas.microsoft.com/office/drawing/2014/main" id="{CD7E19C4-66AC-48C4-AA80-40E0CAEA705F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6">
              <a:extLst>
                <a:ext uri="{FF2B5EF4-FFF2-40B4-BE49-F238E27FC236}">
                  <a16:creationId xmlns:a16="http://schemas.microsoft.com/office/drawing/2014/main" id="{1F8D502F-F585-44EC-9165-7E4989A4941B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37">
              <a:extLst>
                <a:ext uri="{FF2B5EF4-FFF2-40B4-BE49-F238E27FC236}">
                  <a16:creationId xmlns:a16="http://schemas.microsoft.com/office/drawing/2014/main" id="{8919F27D-E1AD-4B70-B1A9-C5D62391667E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38">
              <a:extLst>
                <a:ext uri="{FF2B5EF4-FFF2-40B4-BE49-F238E27FC236}">
                  <a16:creationId xmlns:a16="http://schemas.microsoft.com/office/drawing/2014/main" id="{7224577A-FD9D-490E-9D59-F07FC258503E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39">
              <a:extLst>
                <a:ext uri="{FF2B5EF4-FFF2-40B4-BE49-F238E27FC236}">
                  <a16:creationId xmlns:a16="http://schemas.microsoft.com/office/drawing/2014/main" id="{3B819D76-3AB9-4DB5-BDAE-12BE077A342C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1">
              <a:extLst>
                <a:ext uri="{FF2B5EF4-FFF2-40B4-BE49-F238E27FC236}">
                  <a16:creationId xmlns:a16="http://schemas.microsoft.com/office/drawing/2014/main" id="{944C8788-AA70-4639-91F5-FE8B6D3732AE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2">
              <a:extLst>
                <a:ext uri="{FF2B5EF4-FFF2-40B4-BE49-F238E27FC236}">
                  <a16:creationId xmlns:a16="http://schemas.microsoft.com/office/drawing/2014/main" id="{D3831BF4-3205-42B3-AF79-AF6053084FAA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3">
              <a:extLst>
                <a:ext uri="{FF2B5EF4-FFF2-40B4-BE49-F238E27FC236}">
                  <a16:creationId xmlns:a16="http://schemas.microsoft.com/office/drawing/2014/main" id="{1A30A93B-A96D-4CA1-82FD-CD2BDBF216B1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4">
              <a:extLst>
                <a:ext uri="{FF2B5EF4-FFF2-40B4-BE49-F238E27FC236}">
                  <a16:creationId xmlns:a16="http://schemas.microsoft.com/office/drawing/2014/main" id="{85923125-603F-45DC-A3D9-8DC192432A74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1">
              <a:extLst>
                <a:ext uri="{FF2B5EF4-FFF2-40B4-BE49-F238E27FC236}">
                  <a16:creationId xmlns:a16="http://schemas.microsoft.com/office/drawing/2014/main" id="{596F906A-ADD4-4935-8D2E-5B9DA9624FFE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2">
              <a:extLst>
                <a:ext uri="{FF2B5EF4-FFF2-40B4-BE49-F238E27FC236}">
                  <a16:creationId xmlns:a16="http://schemas.microsoft.com/office/drawing/2014/main" id="{05A8CCF4-8B47-4E2A-A03D-BE93229CA5C2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3">
              <a:extLst>
                <a:ext uri="{FF2B5EF4-FFF2-40B4-BE49-F238E27FC236}">
                  <a16:creationId xmlns:a16="http://schemas.microsoft.com/office/drawing/2014/main" id="{ABB955C0-897C-4617-80E5-983281766BB6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4">
              <a:extLst>
                <a:ext uri="{FF2B5EF4-FFF2-40B4-BE49-F238E27FC236}">
                  <a16:creationId xmlns:a16="http://schemas.microsoft.com/office/drawing/2014/main" id="{40AB260C-D855-410C-ABB0-80551FF41488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5">
              <a:extLst>
                <a:ext uri="{FF2B5EF4-FFF2-40B4-BE49-F238E27FC236}">
                  <a16:creationId xmlns:a16="http://schemas.microsoft.com/office/drawing/2014/main" id="{D0E02354-0236-4A5B-8C26-E6C35801A4BB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6">
              <a:extLst>
                <a:ext uri="{FF2B5EF4-FFF2-40B4-BE49-F238E27FC236}">
                  <a16:creationId xmlns:a16="http://schemas.microsoft.com/office/drawing/2014/main" id="{32825872-4231-4C63-BE9D-A3166D908840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58">
              <a:extLst>
                <a:ext uri="{FF2B5EF4-FFF2-40B4-BE49-F238E27FC236}">
                  <a16:creationId xmlns:a16="http://schemas.microsoft.com/office/drawing/2014/main" id="{94A02465-CC19-4196-84D8-1C645C8BF749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59">
              <a:extLst>
                <a:ext uri="{FF2B5EF4-FFF2-40B4-BE49-F238E27FC236}">
                  <a16:creationId xmlns:a16="http://schemas.microsoft.com/office/drawing/2014/main" id="{D0484987-DAA1-40F0-993E-1014D9E53461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60">
              <a:extLst>
                <a:ext uri="{FF2B5EF4-FFF2-40B4-BE49-F238E27FC236}">
                  <a16:creationId xmlns:a16="http://schemas.microsoft.com/office/drawing/2014/main" id="{D4D522F4-06F6-4F2F-BAF6-00C182BBE778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61">
              <a:extLst>
                <a:ext uri="{FF2B5EF4-FFF2-40B4-BE49-F238E27FC236}">
                  <a16:creationId xmlns:a16="http://schemas.microsoft.com/office/drawing/2014/main" id="{D848176A-D719-42C8-9EDF-763969EA2B12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6" name="Logo">
            <a:extLst>
              <a:ext uri="{FF2B5EF4-FFF2-40B4-BE49-F238E27FC236}">
                <a16:creationId xmlns:a16="http://schemas.microsoft.com/office/drawing/2014/main" id="{0EED71DA-7B8C-4115-8C79-D4C366DF72A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  <a:solidFill>
            <a:srgbClr val="9B8F7F">
              <a:alpha val="55000"/>
            </a:srgbClr>
          </a:solidFill>
        </p:spPr>
      </p:pic>
    </p:spTree>
    <p:extLst>
      <p:ext uri="{BB962C8B-B14F-4D97-AF65-F5344CB8AC3E}">
        <p14:creationId xmlns:p14="http://schemas.microsoft.com/office/powerpoint/2010/main" val="214276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7D60F3-5604-E3BD-9A79-B2CFB0FAF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ED552A-6437-0446-16E6-10CAA25D7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3B3E21-2C8B-DD4E-030B-626BF2084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2DBECC-4DA9-7A41-90E3-520E954D9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06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6110BA-BE98-AC35-D81F-9A9DCCCD2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EED7F7-2FCE-CAA7-8C34-96AEC24D5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B7A3DE-3550-AC58-327F-CC309E33E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906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538B97-4198-8D49-8338-41474D262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E3C4ED-5A25-7DBA-09E5-A4706E30A2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764AD3-59F8-8F34-1EAE-7F99283303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EE7B8D-07D9-1A24-7C8E-6718A7E7B7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50C43B-A027-14A7-4520-7FD8CAEE6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F4BB5B-3922-AAE6-17ED-22EDC66FB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9048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77F18-5538-4D71-8CEB-27EDDD040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760382-4716-B022-975E-28D4F00582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C447CA-9CD5-6930-DB49-8EBFDC79BA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8F7D74-A68C-479F-A2FD-003F77C50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BE142F-2CD9-8DC2-2AF7-F8025E5E34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E55218-7A91-E915-3A9F-38F60A0AD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511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tags" Target="../tags/tag3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tags" Target="../tags/tag4.xml"/><Relationship Id="rId8" Type="http://schemas.openxmlformats.org/officeDocument/2006/relationships/slideLayout" Target="../slideLayouts/slideLayout19.xml"/><Relationship Id="rId51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11BA7-C150-9992-CD77-748EC3D64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E746D1-E83F-C4E7-D50D-2411340CA0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D44D52-D0A5-EDD7-7035-CE8500311A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4EF2B0-E9E3-160A-BE3A-279F51EED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EFA39-EC2A-BA86-3674-5D58D98576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272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E3325E-C111-422A-B953-F8F21788D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479436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9" imgW="306" imgH="306" progId="TCLayout.ActiveDocument.1">
                  <p:embed/>
                </p:oleObj>
              </mc:Choice>
              <mc:Fallback>
                <p:oleObj name="think-cell Folie" r:id="rId49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E3325E-C111-422A-B953-F8F21788D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546AE2A-3641-4D5E-A640-4148F7D3DA5E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2902224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noProof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ctr"/>
            <a:endParaRPr lang="en-US" sz="1000" b="0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885948" y="6526800"/>
            <a:ext cx="6289436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</a:t>
            </a:r>
            <a:endParaRPr lang="en-US" sz="1000" b="0" noProof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9534503E-6F38-4CAC-94E4-107385AE3856}"/>
              </a:ext>
            </a:extLst>
          </p:cNvPr>
          <p:cNvPicPr>
            <a:picLocks noChangeAspect="1"/>
          </p:cNvPicPr>
          <p:nvPr userDrawn="1"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13" name="cdtTextBox 11 Id18">
            <a:extLst>
              <a:ext uri="{FF2B5EF4-FFF2-40B4-BE49-F238E27FC236}">
                <a16:creationId xmlns:a16="http://schemas.microsoft.com/office/drawing/2014/main" id="{1F048232-910F-417E-ADE0-62C5C8DB7C5F}"/>
              </a:ext>
            </a:extLst>
          </p:cNvPr>
          <p:cNvSpPr txBox="1"/>
          <p:nvPr userDrawn="1">
            <p:custDataLst>
              <p:tags r:id="rId47"/>
            </p:custDataLst>
          </p:nvPr>
        </p:nvSpPr>
        <p:spPr>
          <a:xfrm>
            <a:off x="-196985" y="6526800"/>
            <a:ext cx="1606686" cy="29229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lvl="0"/>
            <a:fld id="{CEF11390-62E6-4520-882C-4CF0FAB8ECE5}" type="datetime6">
              <a:rPr lang="en-US" noProof="0" smtClean="0"/>
              <a:t>September 24</a:t>
            </a:fld>
            <a:endParaRPr lang="en-US" noProof="0"/>
          </a:p>
        </p:txBody>
      </p:sp>
      <p:sp>
        <p:nvSpPr>
          <p:cNvPr id="15" name="cdtTextBox 12 Id17">
            <a:extLst>
              <a:ext uri="{FF2B5EF4-FFF2-40B4-BE49-F238E27FC236}">
                <a16:creationId xmlns:a16="http://schemas.microsoft.com/office/drawing/2014/main" id="{EBC4F222-D709-4CFC-8338-47C9C26E843E}"/>
              </a:ext>
            </a:extLst>
          </p:cNvPr>
          <p:cNvSpPr txBox="1"/>
          <p:nvPr userDrawn="1">
            <p:custDataLst>
              <p:tags r:id="rId48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 dirty="0"/>
          </a:p>
          <a:p>
            <a:pPr lvl="0"/>
            <a:r>
              <a:rPr lang="en-US" noProof="0" dirty="0"/>
              <a:t>© Siemens Energy, 202</a:t>
            </a:r>
            <a:r>
              <a:rPr lang="en-SE" noProof="0" dirty="0"/>
              <a:t>4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54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5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629FD0D-689A-4232-931E-EBF77EF951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629FD0D-689A-4232-931E-EBF77EF95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5B6A0CFF-B8FB-4620-82D0-6BBEE428E9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D3C847A-DCAF-4FEB-ABFA-E8B71B7C6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0983309" cy="1414800"/>
          </a:xfrm>
        </p:spPr>
        <p:txBody>
          <a:bodyPr vert="horz"/>
          <a:lstStyle/>
          <a:p>
            <a:r>
              <a:rPr lang="en-US"/>
              <a:t>*Customer* – Heat Pump use case</a:t>
            </a:r>
            <a:br>
              <a:rPr lang="en-US"/>
            </a:br>
            <a:r>
              <a:rPr lang="de-DE" sz="1600"/>
              <a:t>Performance and </a:t>
            </a:r>
            <a:r>
              <a:rPr lang="de-DE" sz="1600" err="1"/>
              <a:t>price</a:t>
            </a:r>
            <a:r>
              <a:rPr lang="de-DE" sz="1600"/>
              <a:t> </a:t>
            </a:r>
            <a:r>
              <a:rPr lang="de-DE" sz="1600" err="1"/>
              <a:t>indication</a:t>
            </a:r>
            <a:endParaRPr lang="en-US" sz="1600"/>
          </a:p>
        </p:txBody>
      </p:sp>
      <p:sp>
        <p:nvSpPr>
          <p:cNvPr id="215" name="Textfeld 214">
            <a:extLst>
              <a:ext uri="{FF2B5EF4-FFF2-40B4-BE49-F238E27FC236}">
                <a16:creationId xmlns:a16="http://schemas.microsoft.com/office/drawing/2014/main" id="{54730ED3-0AD9-C84A-148E-8A342529EA38}"/>
              </a:ext>
            </a:extLst>
          </p:cNvPr>
          <p:cNvSpPr txBox="1"/>
          <p:nvPr/>
        </p:nvSpPr>
        <p:spPr>
          <a:xfrm>
            <a:off x="760318" y="1371699"/>
            <a:ext cx="5200905" cy="27850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10000"/>
              </a:lnSpc>
            </a:pPr>
            <a:r>
              <a:rPr lang="en-US" sz="1400" cap="all" spc="320" dirty="0"/>
              <a:t>HP ONLY </a:t>
            </a:r>
            <a:r>
              <a:rPr lang="en-US" sz="1400" cap="all" spc="320"/>
              <a:t>steam generation</a:t>
            </a:r>
            <a:endParaRPr lang="en-US" sz="1400" cap="all" spc="320" dirty="0"/>
          </a:p>
          <a:p>
            <a:pPr algn="just">
              <a:lnSpc>
                <a:spcPct val="110000"/>
              </a:lnSpc>
            </a:pPr>
            <a:r>
              <a:rPr lang="en-US" sz="1400" cap="all" spc="320" dirty="0">
                <a:highlight>
                  <a:srgbClr val="FFFF00"/>
                </a:highlight>
              </a:rPr>
              <a:t>Max. Output</a:t>
            </a:r>
            <a:endParaRPr lang="en-US" sz="1400" b="1" dirty="0">
              <a:solidFill>
                <a:srgbClr val="3C464B"/>
              </a:solidFill>
              <a:highlight>
                <a:srgbClr val="FFFF00"/>
              </a:highlight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E0D1126-6932-7996-A0C9-4B0F0717E2D3}"/>
              </a:ext>
            </a:extLst>
          </p:cNvPr>
          <p:cNvSpPr txBox="1"/>
          <p:nvPr/>
        </p:nvSpPr>
        <p:spPr>
          <a:xfrm>
            <a:off x="404119" y="5983370"/>
            <a:ext cx="6513832" cy="2830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000" b="1" dirty="0"/>
              <a:t>REMARK</a:t>
            </a:r>
            <a:r>
              <a:rPr lang="en-US" sz="1000" dirty="0"/>
              <a:t>: all numbers and information on this page are preliminary, indicative and non-binding</a:t>
            </a:r>
          </a:p>
          <a:p>
            <a:r>
              <a:rPr lang="en-US" sz="1000" dirty="0"/>
              <a:t>*standard heat pump installation based on terminal points and scope description on following pages</a:t>
            </a:r>
          </a:p>
          <a:p>
            <a:r>
              <a:rPr lang="en-US" sz="1000" dirty="0"/>
              <a:t>**standard 5-years service agreement, further described on following pages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2820077-D01B-672D-7425-71C184FAD591}"/>
              </a:ext>
            </a:extLst>
          </p:cNvPr>
          <p:cNvSpPr txBox="1"/>
          <p:nvPr/>
        </p:nvSpPr>
        <p:spPr>
          <a:xfrm>
            <a:off x="7192587" y="1798014"/>
            <a:ext cx="4999413" cy="264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endParaRPr lang="en-US" sz="1100" dirty="0">
              <a:sym typeface="Wingdings" panose="05000000000000000000" pitchFamily="2" charset="2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A664C62-7C2A-4362-62C8-E8DBC9612902}"/>
              </a:ext>
            </a:extLst>
          </p:cNvPr>
          <p:cNvSpPr txBox="1"/>
          <p:nvPr/>
        </p:nvSpPr>
        <p:spPr>
          <a:xfrm>
            <a:off x="6064746" y="1676509"/>
            <a:ext cx="3179805" cy="7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00" spc="320"/>
              <a:t>Heat source characteristic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4DBAEE3-68B1-1356-7136-31BF6BE7AD1B}"/>
              </a:ext>
            </a:extLst>
          </p:cNvPr>
          <p:cNvSpPr txBox="1"/>
          <p:nvPr/>
        </p:nvSpPr>
        <p:spPr>
          <a:xfrm>
            <a:off x="7192587" y="2770415"/>
            <a:ext cx="4999413" cy="264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endParaRPr lang="en-US" sz="110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30465B8-CCB0-0A7F-4509-4E163AD4D8F3}"/>
              </a:ext>
            </a:extLst>
          </p:cNvPr>
          <p:cNvSpPr txBox="1"/>
          <p:nvPr/>
        </p:nvSpPr>
        <p:spPr>
          <a:xfrm>
            <a:off x="6064746" y="2646426"/>
            <a:ext cx="3316207" cy="7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00" spc="320"/>
              <a:t>Heat sink characteristics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59D45790-3073-67AE-323E-3FB09F80A577}"/>
              </a:ext>
            </a:extLst>
          </p:cNvPr>
          <p:cNvSpPr txBox="1"/>
          <p:nvPr/>
        </p:nvSpPr>
        <p:spPr>
          <a:xfrm>
            <a:off x="6064746" y="3606600"/>
            <a:ext cx="2800350" cy="7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00" spc="320"/>
              <a:t>Heat pump characteristics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4C744768-D8FD-8453-E22D-70F7198B67F9}"/>
              </a:ext>
            </a:extLst>
          </p:cNvPr>
          <p:cNvSpPr txBox="1"/>
          <p:nvPr/>
        </p:nvSpPr>
        <p:spPr>
          <a:xfrm>
            <a:off x="7192587" y="3732905"/>
            <a:ext cx="4999413" cy="264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endParaRPr lang="en-US" sz="1100" b="1" dirty="0"/>
          </a:p>
        </p:txBody>
      </p:sp>
      <p:grpSp>
        <p:nvGrpSpPr>
          <p:cNvPr id="58" name="Grafik 1120">
            <a:extLst>
              <a:ext uri="{FF2B5EF4-FFF2-40B4-BE49-F238E27FC236}">
                <a16:creationId xmlns:a16="http://schemas.microsoft.com/office/drawing/2014/main" id="{C53466FB-55AA-E4A5-9DE6-871FB166F376}"/>
              </a:ext>
            </a:extLst>
          </p:cNvPr>
          <p:cNvGrpSpPr/>
          <p:nvPr/>
        </p:nvGrpSpPr>
        <p:grpSpPr>
          <a:xfrm>
            <a:off x="6119066" y="5058822"/>
            <a:ext cx="824207" cy="553281"/>
            <a:chOff x="5369863" y="2689274"/>
            <a:chExt cx="638651" cy="428720"/>
          </a:xfrm>
          <a:solidFill>
            <a:srgbClr val="000000"/>
          </a:solidFill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681F8EA3-0409-5FA9-C712-6DC1F89ED71F}"/>
                </a:ext>
              </a:extLst>
            </p:cNvPr>
            <p:cNvSpPr/>
            <p:nvPr/>
          </p:nvSpPr>
          <p:spPr>
            <a:xfrm>
              <a:off x="5488925" y="2996932"/>
              <a:ext cx="13049" cy="3333"/>
            </a:xfrm>
            <a:custGeom>
              <a:avLst/>
              <a:gdLst>
                <a:gd name="connsiteX0" fmla="*/ 13049 w 13049"/>
                <a:gd name="connsiteY0" fmla="*/ 3334 h 3333"/>
                <a:gd name="connsiteX1" fmla="*/ 13049 w 13049"/>
                <a:gd name="connsiteY1" fmla="*/ 0 h 3333"/>
                <a:gd name="connsiteX2" fmla="*/ 0 w 13049"/>
                <a:gd name="connsiteY2" fmla="*/ 0 h 3333"/>
                <a:gd name="connsiteX3" fmla="*/ 0 w 13049"/>
                <a:gd name="connsiteY3" fmla="*/ 3334 h 3333"/>
                <a:gd name="connsiteX4" fmla="*/ 13049 w 13049"/>
                <a:gd name="connsiteY4" fmla="*/ 3334 h 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9" h="3333">
                  <a:moveTo>
                    <a:pt x="13049" y="3334"/>
                  </a:moveTo>
                  <a:lnTo>
                    <a:pt x="13049" y="0"/>
                  </a:lnTo>
                  <a:lnTo>
                    <a:pt x="0" y="0"/>
                  </a:lnTo>
                  <a:lnTo>
                    <a:pt x="0" y="3334"/>
                  </a:lnTo>
                  <a:lnTo>
                    <a:pt x="13049" y="333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F4F3F364-C201-E5AD-9B8E-F4AA9B36266C}"/>
                </a:ext>
              </a:extLst>
            </p:cNvPr>
            <p:cNvSpPr/>
            <p:nvPr/>
          </p:nvSpPr>
          <p:spPr>
            <a:xfrm>
              <a:off x="5501213" y="3044652"/>
              <a:ext cx="13525" cy="31527"/>
            </a:xfrm>
            <a:custGeom>
              <a:avLst/>
              <a:gdLst>
                <a:gd name="connsiteX0" fmla="*/ 13526 w 13525"/>
                <a:gd name="connsiteY0" fmla="*/ 31528 h 31527"/>
                <a:gd name="connsiteX1" fmla="*/ 13526 w 13525"/>
                <a:gd name="connsiteY1" fmla="*/ 0 h 31527"/>
                <a:gd name="connsiteX2" fmla="*/ 0 w 13525"/>
                <a:gd name="connsiteY2" fmla="*/ 0 h 31527"/>
                <a:gd name="connsiteX3" fmla="*/ 0 w 13525"/>
                <a:gd name="connsiteY3" fmla="*/ 31528 h 31527"/>
                <a:gd name="connsiteX4" fmla="*/ 13526 w 13525"/>
                <a:gd name="connsiteY4" fmla="*/ 31528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25" h="31527">
                  <a:moveTo>
                    <a:pt x="13526" y="31528"/>
                  </a:moveTo>
                  <a:lnTo>
                    <a:pt x="13526" y="0"/>
                  </a:lnTo>
                  <a:lnTo>
                    <a:pt x="0" y="0"/>
                  </a:lnTo>
                  <a:lnTo>
                    <a:pt x="0" y="31528"/>
                  </a:lnTo>
                  <a:lnTo>
                    <a:pt x="13526" y="31528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611286B-6DE3-5636-EBBB-D2D4B2985B84}"/>
                </a:ext>
              </a:extLst>
            </p:cNvPr>
            <p:cNvSpPr/>
            <p:nvPr/>
          </p:nvSpPr>
          <p:spPr>
            <a:xfrm>
              <a:off x="5495403" y="3049224"/>
              <a:ext cx="8000" cy="22383"/>
            </a:xfrm>
            <a:custGeom>
              <a:avLst/>
              <a:gdLst>
                <a:gd name="connsiteX0" fmla="*/ 6001 w 8000"/>
                <a:gd name="connsiteY0" fmla="*/ 22384 h 22383"/>
                <a:gd name="connsiteX1" fmla="*/ 8001 w 8000"/>
                <a:gd name="connsiteY1" fmla="*/ 20383 h 22383"/>
                <a:gd name="connsiteX2" fmla="*/ 8001 w 8000"/>
                <a:gd name="connsiteY2" fmla="*/ 2000 h 22383"/>
                <a:gd name="connsiteX3" fmla="*/ 6001 w 8000"/>
                <a:gd name="connsiteY3" fmla="*/ 0 h 22383"/>
                <a:gd name="connsiteX4" fmla="*/ 2000 w 8000"/>
                <a:gd name="connsiteY4" fmla="*/ 0 h 22383"/>
                <a:gd name="connsiteX5" fmla="*/ 0 w 8000"/>
                <a:gd name="connsiteY5" fmla="*/ 2000 h 22383"/>
                <a:gd name="connsiteX6" fmla="*/ 0 w 8000"/>
                <a:gd name="connsiteY6" fmla="*/ 20383 h 22383"/>
                <a:gd name="connsiteX7" fmla="*/ 2000 w 8000"/>
                <a:gd name="connsiteY7" fmla="*/ 22384 h 22383"/>
                <a:gd name="connsiteX8" fmla="*/ 6001 w 8000"/>
                <a:gd name="connsiteY8" fmla="*/ 22384 h 22383"/>
                <a:gd name="connsiteX9" fmla="*/ 6001 w 8000"/>
                <a:gd name="connsiteY9" fmla="*/ 22384 h 2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00" h="22383">
                  <a:moveTo>
                    <a:pt x="6001" y="22384"/>
                  </a:moveTo>
                  <a:cubicBezTo>
                    <a:pt x="7144" y="22384"/>
                    <a:pt x="8001" y="21526"/>
                    <a:pt x="8001" y="20383"/>
                  </a:cubicBezTo>
                  <a:lnTo>
                    <a:pt x="8001" y="2000"/>
                  </a:lnTo>
                  <a:cubicBezTo>
                    <a:pt x="8001" y="857"/>
                    <a:pt x="7144" y="0"/>
                    <a:pt x="6001" y="0"/>
                  </a:cubicBezTo>
                  <a:lnTo>
                    <a:pt x="2000" y="0"/>
                  </a:lnTo>
                  <a:cubicBezTo>
                    <a:pt x="857" y="0"/>
                    <a:pt x="0" y="857"/>
                    <a:pt x="0" y="2000"/>
                  </a:cubicBezTo>
                  <a:lnTo>
                    <a:pt x="0" y="20383"/>
                  </a:lnTo>
                  <a:cubicBezTo>
                    <a:pt x="0" y="21526"/>
                    <a:pt x="857" y="22384"/>
                    <a:pt x="2000" y="22384"/>
                  </a:cubicBezTo>
                  <a:lnTo>
                    <a:pt x="6001" y="22384"/>
                  </a:lnTo>
                  <a:lnTo>
                    <a:pt x="6001" y="2238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74E25C0B-D576-FA14-2E66-D64FB0531953}"/>
                </a:ext>
              </a:extLst>
            </p:cNvPr>
            <p:cNvSpPr/>
            <p:nvPr/>
          </p:nvSpPr>
          <p:spPr>
            <a:xfrm>
              <a:off x="5988893" y="2934638"/>
              <a:ext cx="19621" cy="35909"/>
            </a:xfrm>
            <a:custGeom>
              <a:avLst/>
              <a:gdLst>
                <a:gd name="connsiteX0" fmla="*/ 19621 w 19621"/>
                <a:gd name="connsiteY0" fmla="*/ 35909 h 35909"/>
                <a:gd name="connsiteX1" fmla="*/ 19621 w 19621"/>
                <a:gd name="connsiteY1" fmla="*/ 0 h 35909"/>
                <a:gd name="connsiteX2" fmla="*/ 0 w 19621"/>
                <a:gd name="connsiteY2" fmla="*/ 0 h 35909"/>
                <a:gd name="connsiteX3" fmla="*/ 0 w 19621"/>
                <a:gd name="connsiteY3" fmla="*/ 35909 h 35909"/>
                <a:gd name="connsiteX4" fmla="*/ 19621 w 19621"/>
                <a:gd name="connsiteY4" fmla="*/ 35909 h 3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21" h="35909">
                  <a:moveTo>
                    <a:pt x="19621" y="35909"/>
                  </a:moveTo>
                  <a:lnTo>
                    <a:pt x="19621" y="0"/>
                  </a:lnTo>
                  <a:lnTo>
                    <a:pt x="0" y="0"/>
                  </a:lnTo>
                  <a:lnTo>
                    <a:pt x="0" y="35909"/>
                  </a:lnTo>
                  <a:lnTo>
                    <a:pt x="19621" y="35909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F4B1690E-BE1C-2A0F-CCCC-BE049748708C}"/>
                </a:ext>
              </a:extLst>
            </p:cNvPr>
            <p:cNvSpPr/>
            <p:nvPr/>
          </p:nvSpPr>
          <p:spPr>
            <a:xfrm>
              <a:off x="5576746" y="2689274"/>
              <a:ext cx="366617" cy="143065"/>
            </a:xfrm>
            <a:custGeom>
              <a:avLst/>
              <a:gdLst>
                <a:gd name="connsiteX0" fmla="*/ 157067 w 366617"/>
                <a:gd name="connsiteY0" fmla="*/ 121253 h 143065"/>
                <a:gd name="connsiteX1" fmla="*/ 157067 w 366617"/>
                <a:gd name="connsiteY1" fmla="*/ 143066 h 143065"/>
                <a:gd name="connsiteX2" fmla="*/ 0 w 366617"/>
                <a:gd name="connsiteY2" fmla="*/ 143066 h 143065"/>
                <a:gd name="connsiteX3" fmla="*/ 0 w 366617"/>
                <a:gd name="connsiteY3" fmla="*/ 0 h 143065"/>
                <a:gd name="connsiteX4" fmla="*/ 157067 w 366617"/>
                <a:gd name="connsiteY4" fmla="*/ 0 h 143065"/>
                <a:gd name="connsiteX5" fmla="*/ 157067 w 366617"/>
                <a:gd name="connsiteY5" fmla="*/ 21336 h 143065"/>
                <a:gd name="connsiteX6" fmla="*/ 366617 w 366617"/>
                <a:gd name="connsiteY6" fmla="*/ 21336 h 143065"/>
                <a:gd name="connsiteX7" fmla="*/ 366617 w 366617"/>
                <a:gd name="connsiteY7" fmla="*/ 121253 h 143065"/>
                <a:gd name="connsiteX8" fmla="*/ 157067 w 366617"/>
                <a:gd name="connsiteY8" fmla="*/ 121253 h 143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6617" h="143065">
                  <a:moveTo>
                    <a:pt x="157067" y="121253"/>
                  </a:moveTo>
                  <a:lnTo>
                    <a:pt x="157067" y="143066"/>
                  </a:lnTo>
                  <a:lnTo>
                    <a:pt x="0" y="143066"/>
                  </a:lnTo>
                  <a:lnTo>
                    <a:pt x="0" y="0"/>
                  </a:lnTo>
                  <a:lnTo>
                    <a:pt x="157067" y="0"/>
                  </a:lnTo>
                  <a:lnTo>
                    <a:pt x="157067" y="21336"/>
                  </a:lnTo>
                  <a:lnTo>
                    <a:pt x="366617" y="21336"/>
                  </a:lnTo>
                  <a:lnTo>
                    <a:pt x="366617" y="121253"/>
                  </a:lnTo>
                  <a:lnTo>
                    <a:pt x="157067" y="121253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141D550B-7C4C-9A5C-8E11-025502BE752A}"/>
                </a:ext>
              </a:extLst>
            </p:cNvPr>
            <p:cNvSpPr/>
            <p:nvPr/>
          </p:nvSpPr>
          <p:spPr>
            <a:xfrm>
              <a:off x="5446920" y="2911969"/>
              <a:ext cx="554354" cy="78866"/>
            </a:xfrm>
            <a:custGeom>
              <a:avLst/>
              <a:gdLst>
                <a:gd name="connsiteX0" fmla="*/ 534638 w 554354"/>
                <a:gd name="connsiteY0" fmla="*/ 78867 h 78866"/>
                <a:gd name="connsiteX1" fmla="*/ 554355 w 554354"/>
                <a:gd name="connsiteY1" fmla="*/ 59150 h 78866"/>
                <a:gd name="connsiteX2" fmla="*/ 554355 w 554354"/>
                <a:gd name="connsiteY2" fmla="*/ 19717 h 78866"/>
                <a:gd name="connsiteX3" fmla="*/ 534638 w 554354"/>
                <a:gd name="connsiteY3" fmla="*/ 0 h 78866"/>
                <a:gd name="connsiteX4" fmla="*/ 19717 w 554354"/>
                <a:gd name="connsiteY4" fmla="*/ 0 h 78866"/>
                <a:gd name="connsiteX5" fmla="*/ 0 w 554354"/>
                <a:gd name="connsiteY5" fmla="*/ 19717 h 78866"/>
                <a:gd name="connsiteX6" fmla="*/ 0 w 554354"/>
                <a:gd name="connsiteY6" fmla="*/ 59150 h 78866"/>
                <a:gd name="connsiteX7" fmla="*/ 19717 w 554354"/>
                <a:gd name="connsiteY7" fmla="*/ 78867 h 78866"/>
                <a:gd name="connsiteX8" fmla="*/ 534638 w 554354"/>
                <a:gd name="connsiteY8" fmla="*/ 78867 h 78866"/>
                <a:gd name="connsiteX9" fmla="*/ 534638 w 554354"/>
                <a:gd name="connsiteY9" fmla="*/ 78867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4354" h="78866">
                  <a:moveTo>
                    <a:pt x="534638" y="78867"/>
                  </a:moveTo>
                  <a:cubicBezTo>
                    <a:pt x="545497" y="78867"/>
                    <a:pt x="554355" y="70009"/>
                    <a:pt x="554355" y="59150"/>
                  </a:cubicBezTo>
                  <a:lnTo>
                    <a:pt x="554355" y="19717"/>
                  </a:lnTo>
                  <a:cubicBezTo>
                    <a:pt x="554355" y="8858"/>
                    <a:pt x="545497" y="0"/>
                    <a:pt x="534638" y="0"/>
                  </a:cubicBezTo>
                  <a:lnTo>
                    <a:pt x="19717" y="0"/>
                  </a:lnTo>
                  <a:cubicBezTo>
                    <a:pt x="8858" y="0"/>
                    <a:pt x="0" y="8858"/>
                    <a:pt x="0" y="19717"/>
                  </a:cubicBezTo>
                  <a:lnTo>
                    <a:pt x="0" y="59150"/>
                  </a:lnTo>
                  <a:cubicBezTo>
                    <a:pt x="0" y="70009"/>
                    <a:pt x="8858" y="78867"/>
                    <a:pt x="19717" y="78867"/>
                  </a:cubicBezTo>
                  <a:lnTo>
                    <a:pt x="534638" y="78867"/>
                  </a:lnTo>
                  <a:lnTo>
                    <a:pt x="534638" y="78867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EAAFA32B-B2A8-B9B4-AF3E-C7BB88D99EAB}"/>
                </a:ext>
              </a:extLst>
            </p:cNvPr>
            <p:cNvSpPr/>
            <p:nvPr/>
          </p:nvSpPr>
          <p:spPr>
            <a:xfrm>
              <a:off x="5487401" y="2905778"/>
              <a:ext cx="16478" cy="92297"/>
            </a:xfrm>
            <a:custGeom>
              <a:avLst/>
              <a:gdLst>
                <a:gd name="connsiteX0" fmla="*/ 16478 w 16478"/>
                <a:gd name="connsiteY0" fmla="*/ 92297 h 92297"/>
                <a:gd name="connsiteX1" fmla="*/ 16478 w 16478"/>
                <a:gd name="connsiteY1" fmla="*/ 0 h 92297"/>
                <a:gd name="connsiteX2" fmla="*/ 0 w 16478"/>
                <a:gd name="connsiteY2" fmla="*/ 0 h 92297"/>
                <a:gd name="connsiteX3" fmla="*/ 0 w 16478"/>
                <a:gd name="connsiteY3" fmla="*/ 92297 h 92297"/>
                <a:gd name="connsiteX4" fmla="*/ 16478 w 16478"/>
                <a:gd name="connsiteY4" fmla="*/ 92297 h 9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78" h="92297">
                  <a:moveTo>
                    <a:pt x="16478" y="92297"/>
                  </a:moveTo>
                  <a:lnTo>
                    <a:pt x="16478" y="0"/>
                  </a:lnTo>
                  <a:lnTo>
                    <a:pt x="0" y="0"/>
                  </a:lnTo>
                  <a:lnTo>
                    <a:pt x="0" y="92297"/>
                  </a:lnTo>
                  <a:lnTo>
                    <a:pt x="16478" y="92297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1A234F06-FCCF-599A-944C-716B035FC007}"/>
                </a:ext>
              </a:extLst>
            </p:cNvPr>
            <p:cNvSpPr/>
            <p:nvPr/>
          </p:nvSpPr>
          <p:spPr>
            <a:xfrm>
              <a:off x="5506547" y="3022459"/>
              <a:ext cx="470820" cy="66579"/>
            </a:xfrm>
            <a:custGeom>
              <a:avLst/>
              <a:gdLst>
                <a:gd name="connsiteX0" fmla="*/ 464725 w 470820"/>
                <a:gd name="connsiteY0" fmla="*/ 5715 h 66579"/>
                <a:gd name="connsiteX1" fmla="*/ 470821 w 470820"/>
                <a:gd name="connsiteY1" fmla="*/ 34004 h 66579"/>
                <a:gd name="connsiteX2" fmla="*/ 464725 w 470820"/>
                <a:gd name="connsiteY2" fmla="*/ 62293 h 66579"/>
                <a:gd name="connsiteX3" fmla="*/ 464725 w 470820"/>
                <a:gd name="connsiteY3" fmla="*/ 66580 h 66579"/>
                <a:gd name="connsiteX4" fmla="*/ 454819 w 470820"/>
                <a:gd name="connsiteY4" fmla="*/ 66580 h 66579"/>
                <a:gd name="connsiteX5" fmla="*/ 454819 w 470820"/>
                <a:gd name="connsiteY5" fmla="*/ 62103 h 66579"/>
                <a:gd name="connsiteX6" fmla="*/ 15716 w 470820"/>
                <a:gd name="connsiteY6" fmla="*/ 62103 h 66579"/>
                <a:gd name="connsiteX7" fmla="*/ 15716 w 470820"/>
                <a:gd name="connsiteY7" fmla="*/ 66580 h 66579"/>
                <a:gd name="connsiteX8" fmla="*/ 5810 w 470820"/>
                <a:gd name="connsiteY8" fmla="*/ 66580 h 66579"/>
                <a:gd name="connsiteX9" fmla="*/ 5810 w 470820"/>
                <a:gd name="connsiteY9" fmla="*/ 61913 h 66579"/>
                <a:gd name="connsiteX10" fmla="*/ 0 w 470820"/>
                <a:gd name="connsiteY10" fmla="*/ 34195 h 66579"/>
                <a:gd name="connsiteX11" fmla="*/ 5810 w 470820"/>
                <a:gd name="connsiteY11" fmla="*/ 6477 h 66579"/>
                <a:gd name="connsiteX12" fmla="*/ 5810 w 470820"/>
                <a:gd name="connsiteY12" fmla="*/ 0 h 66579"/>
                <a:gd name="connsiteX13" fmla="*/ 15716 w 470820"/>
                <a:gd name="connsiteY13" fmla="*/ 0 h 66579"/>
                <a:gd name="connsiteX14" fmla="*/ 15716 w 470820"/>
                <a:gd name="connsiteY14" fmla="*/ 4477 h 66579"/>
                <a:gd name="connsiteX15" fmla="*/ 454819 w 470820"/>
                <a:gd name="connsiteY15" fmla="*/ 4477 h 66579"/>
                <a:gd name="connsiteX16" fmla="*/ 454819 w 470820"/>
                <a:gd name="connsiteY16" fmla="*/ 0 h 66579"/>
                <a:gd name="connsiteX17" fmla="*/ 464725 w 470820"/>
                <a:gd name="connsiteY17" fmla="*/ 0 h 66579"/>
                <a:gd name="connsiteX18" fmla="*/ 464725 w 470820"/>
                <a:gd name="connsiteY18" fmla="*/ 5715 h 66579"/>
                <a:gd name="connsiteX19" fmla="*/ 464725 w 470820"/>
                <a:gd name="connsiteY19" fmla="*/ 5715 h 6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70820" h="66579">
                  <a:moveTo>
                    <a:pt x="464725" y="5715"/>
                  </a:moveTo>
                  <a:cubicBezTo>
                    <a:pt x="468439" y="12287"/>
                    <a:pt x="470821" y="22479"/>
                    <a:pt x="470821" y="34004"/>
                  </a:cubicBezTo>
                  <a:cubicBezTo>
                    <a:pt x="470821" y="45529"/>
                    <a:pt x="468439" y="55721"/>
                    <a:pt x="464725" y="62293"/>
                  </a:cubicBezTo>
                  <a:lnTo>
                    <a:pt x="464725" y="66580"/>
                  </a:lnTo>
                  <a:lnTo>
                    <a:pt x="454819" y="66580"/>
                  </a:lnTo>
                  <a:lnTo>
                    <a:pt x="454819" y="62103"/>
                  </a:lnTo>
                  <a:lnTo>
                    <a:pt x="15716" y="62103"/>
                  </a:lnTo>
                  <a:lnTo>
                    <a:pt x="15716" y="66580"/>
                  </a:lnTo>
                  <a:lnTo>
                    <a:pt x="5810" y="66580"/>
                  </a:lnTo>
                  <a:lnTo>
                    <a:pt x="5810" y="61913"/>
                  </a:lnTo>
                  <a:cubicBezTo>
                    <a:pt x="2286" y="55340"/>
                    <a:pt x="0" y="45339"/>
                    <a:pt x="0" y="34195"/>
                  </a:cubicBezTo>
                  <a:cubicBezTo>
                    <a:pt x="0" y="23050"/>
                    <a:pt x="2286" y="13049"/>
                    <a:pt x="5810" y="6477"/>
                  </a:cubicBezTo>
                  <a:lnTo>
                    <a:pt x="5810" y="0"/>
                  </a:lnTo>
                  <a:lnTo>
                    <a:pt x="15716" y="0"/>
                  </a:lnTo>
                  <a:lnTo>
                    <a:pt x="15716" y="4477"/>
                  </a:lnTo>
                  <a:lnTo>
                    <a:pt x="454819" y="4477"/>
                  </a:lnTo>
                  <a:lnTo>
                    <a:pt x="454819" y="0"/>
                  </a:lnTo>
                  <a:lnTo>
                    <a:pt x="464725" y="0"/>
                  </a:lnTo>
                  <a:lnTo>
                    <a:pt x="464725" y="5715"/>
                  </a:lnTo>
                  <a:lnTo>
                    <a:pt x="464725" y="5715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BF4890B5-58DB-FD8D-CADA-236F9E3FDB5D}"/>
                </a:ext>
              </a:extLst>
            </p:cNvPr>
            <p:cNvSpPr/>
            <p:nvPr/>
          </p:nvSpPr>
          <p:spPr>
            <a:xfrm>
              <a:off x="5896786" y="2865201"/>
              <a:ext cx="32956" cy="36290"/>
            </a:xfrm>
            <a:custGeom>
              <a:avLst/>
              <a:gdLst>
                <a:gd name="connsiteX0" fmla="*/ 32956 w 32956"/>
                <a:gd name="connsiteY0" fmla="*/ 36290 h 36290"/>
                <a:gd name="connsiteX1" fmla="*/ 32956 w 32956"/>
                <a:gd name="connsiteY1" fmla="*/ 0 h 36290"/>
                <a:gd name="connsiteX2" fmla="*/ 0 w 32956"/>
                <a:gd name="connsiteY2" fmla="*/ 0 h 36290"/>
                <a:gd name="connsiteX3" fmla="*/ 0 w 32956"/>
                <a:gd name="connsiteY3" fmla="*/ 36290 h 36290"/>
                <a:gd name="connsiteX4" fmla="*/ 32956 w 32956"/>
                <a:gd name="connsiteY4" fmla="*/ 36290 h 3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956" h="36290">
                  <a:moveTo>
                    <a:pt x="32956" y="36290"/>
                  </a:moveTo>
                  <a:lnTo>
                    <a:pt x="32956" y="0"/>
                  </a:lnTo>
                  <a:lnTo>
                    <a:pt x="0" y="0"/>
                  </a:lnTo>
                  <a:lnTo>
                    <a:pt x="0" y="36290"/>
                  </a:lnTo>
                  <a:lnTo>
                    <a:pt x="32956" y="36290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C620A033-7D6D-C7A0-3D36-78AD6C6D480D}"/>
                </a:ext>
              </a:extLst>
            </p:cNvPr>
            <p:cNvSpPr/>
            <p:nvPr/>
          </p:nvSpPr>
          <p:spPr>
            <a:xfrm>
              <a:off x="5606369" y="2864915"/>
              <a:ext cx="262223" cy="32384"/>
            </a:xfrm>
            <a:custGeom>
              <a:avLst/>
              <a:gdLst>
                <a:gd name="connsiteX0" fmla="*/ 262223 w 262223"/>
                <a:gd name="connsiteY0" fmla="*/ 32385 h 32384"/>
                <a:gd name="connsiteX1" fmla="*/ 262223 w 262223"/>
                <a:gd name="connsiteY1" fmla="*/ 0 h 32384"/>
                <a:gd name="connsiteX2" fmla="*/ 0 w 262223"/>
                <a:gd name="connsiteY2" fmla="*/ 0 h 32384"/>
                <a:gd name="connsiteX3" fmla="*/ 0 w 262223"/>
                <a:gd name="connsiteY3" fmla="*/ 32385 h 32384"/>
                <a:gd name="connsiteX4" fmla="*/ 262223 w 262223"/>
                <a:gd name="connsiteY4" fmla="*/ 32385 h 3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23" h="32384">
                  <a:moveTo>
                    <a:pt x="262223" y="32385"/>
                  </a:moveTo>
                  <a:lnTo>
                    <a:pt x="262223" y="0"/>
                  </a:lnTo>
                  <a:lnTo>
                    <a:pt x="0" y="0"/>
                  </a:lnTo>
                  <a:lnTo>
                    <a:pt x="0" y="32385"/>
                  </a:lnTo>
                  <a:lnTo>
                    <a:pt x="262223" y="32385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77EF0109-90A2-1A78-0500-ECA9DBC07D63}"/>
                </a:ext>
              </a:extLst>
            </p:cNvPr>
            <p:cNvSpPr/>
            <p:nvPr/>
          </p:nvSpPr>
          <p:spPr>
            <a:xfrm>
              <a:off x="5842017" y="2702038"/>
              <a:ext cx="25050" cy="31527"/>
            </a:xfrm>
            <a:custGeom>
              <a:avLst/>
              <a:gdLst>
                <a:gd name="connsiteX0" fmla="*/ 25051 w 25050"/>
                <a:gd name="connsiteY0" fmla="*/ 31528 h 31527"/>
                <a:gd name="connsiteX1" fmla="*/ 25051 w 25050"/>
                <a:gd name="connsiteY1" fmla="*/ 0 h 31527"/>
                <a:gd name="connsiteX2" fmla="*/ 0 w 25050"/>
                <a:gd name="connsiteY2" fmla="*/ 0 h 31527"/>
                <a:gd name="connsiteX3" fmla="*/ 0 w 25050"/>
                <a:gd name="connsiteY3" fmla="*/ 31528 h 31527"/>
                <a:gd name="connsiteX4" fmla="*/ 25051 w 25050"/>
                <a:gd name="connsiteY4" fmla="*/ 31528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50" h="31527">
                  <a:moveTo>
                    <a:pt x="25051" y="31528"/>
                  </a:moveTo>
                  <a:lnTo>
                    <a:pt x="25051" y="0"/>
                  </a:lnTo>
                  <a:lnTo>
                    <a:pt x="0" y="0"/>
                  </a:lnTo>
                  <a:lnTo>
                    <a:pt x="0" y="31528"/>
                  </a:lnTo>
                  <a:lnTo>
                    <a:pt x="25051" y="31528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15B4FC22-F010-6299-BDD9-D3122325FDEA}"/>
                </a:ext>
              </a:extLst>
            </p:cNvPr>
            <p:cNvSpPr/>
            <p:nvPr/>
          </p:nvSpPr>
          <p:spPr>
            <a:xfrm>
              <a:off x="5613989" y="2716040"/>
              <a:ext cx="90773" cy="20859"/>
            </a:xfrm>
            <a:custGeom>
              <a:avLst/>
              <a:gdLst>
                <a:gd name="connsiteX0" fmla="*/ 90773 w 90773"/>
                <a:gd name="connsiteY0" fmla="*/ 20860 h 20859"/>
                <a:gd name="connsiteX1" fmla="*/ 90773 w 90773"/>
                <a:gd name="connsiteY1" fmla="*/ 0 h 20859"/>
                <a:gd name="connsiteX2" fmla="*/ 0 w 90773"/>
                <a:gd name="connsiteY2" fmla="*/ 0 h 20859"/>
                <a:gd name="connsiteX3" fmla="*/ 0 w 90773"/>
                <a:gd name="connsiteY3" fmla="*/ 20860 h 20859"/>
                <a:gd name="connsiteX4" fmla="*/ 90773 w 90773"/>
                <a:gd name="connsiteY4" fmla="*/ 20860 h 20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773" h="20859">
                  <a:moveTo>
                    <a:pt x="90773" y="20860"/>
                  </a:moveTo>
                  <a:lnTo>
                    <a:pt x="90773" y="0"/>
                  </a:lnTo>
                  <a:lnTo>
                    <a:pt x="0" y="0"/>
                  </a:lnTo>
                  <a:lnTo>
                    <a:pt x="0" y="20860"/>
                  </a:lnTo>
                  <a:lnTo>
                    <a:pt x="90773" y="2086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DEDD7E9A-EB92-857C-8A43-70121BF5E266}"/>
                </a:ext>
              </a:extLst>
            </p:cNvPr>
            <p:cNvSpPr/>
            <p:nvPr/>
          </p:nvSpPr>
          <p:spPr>
            <a:xfrm>
              <a:off x="5719335" y="2747186"/>
              <a:ext cx="39052" cy="25527"/>
            </a:xfrm>
            <a:custGeom>
              <a:avLst/>
              <a:gdLst>
                <a:gd name="connsiteX0" fmla="*/ 39052 w 39052"/>
                <a:gd name="connsiteY0" fmla="*/ 25527 h 25527"/>
                <a:gd name="connsiteX1" fmla="*/ 39052 w 39052"/>
                <a:gd name="connsiteY1" fmla="*/ 0 h 25527"/>
                <a:gd name="connsiteX2" fmla="*/ 0 w 39052"/>
                <a:gd name="connsiteY2" fmla="*/ 0 h 25527"/>
                <a:gd name="connsiteX3" fmla="*/ 0 w 39052"/>
                <a:gd name="connsiteY3" fmla="*/ 25527 h 25527"/>
                <a:gd name="connsiteX4" fmla="*/ 39052 w 39052"/>
                <a:gd name="connsiteY4" fmla="*/ 25527 h 2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52" h="25527">
                  <a:moveTo>
                    <a:pt x="39052" y="25527"/>
                  </a:moveTo>
                  <a:lnTo>
                    <a:pt x="39052" y="0"/>
                  </a:lnTo>
                  <a:lnTo>
                    <a:pt x="0" y="0"/>
                  </a:lnTo>
                  <a:lnTo>
                    <a:pt x="0" y="25527"/>
                  </a:lnTo>
                  <a:lnTo>
                    <a:pt x="39052" y="25527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B3B5DC97-8FC7-ADE2-48C8-92F7255A1DCE}"/>
                </a:ext>
              </a:extLst>
            </p:cNvPr>
            <p:cNvSpPr/>
            <p:nvPr/>
          </p:nvSpPr>
          <p:spPr>
            <a:xfrm>
              <a:off x="5702952" y="2753949"/>
              <a:ext cx="71151" cy="12001"/>
            </a:xfrm>
            <a:custGeom>
              <a:avLst/>
              <a:gdLst>
                <a:gd name="connsiteX0" fmla="*/ 71152 w 71151"/>
                <a:gd name="connsiteY0" fmla="*/ 12002 h 12001"/>
                <a:gd name="connsiteX1" fmla="*/ 71152 w 71151"/>
                <a:gd name="connsiteY1" fmla="*/ 0 h 12001"/>
                <a:gd name="connsiteX2" fmla="*/ 0 w 71151"/>
                <a:gd name="connsiteY2" fmla="*/ 0 h 12001"/>
                <a:gd name="connsiteX3" fmla="*/ 0 w 71151"/>
                <a:gd name="connsiteY3" fmla="*/ 12002 h 12001"/>
                <a:gd name="connsiteX4" fmla="*/ 71152 w 71151"/>
                <a:gd name="connsiteY4" fmla="*/ 12002 h 1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151" h="12001">
                  <a:moveTo>
                    <a:pt x="71152" y="12002"/>
                  </a:moveTo>
                  <a:lnTo>
                    <a:pt x="71152" y="0"/>
                  </a:lnTo>
                  <a:lnTo>
                    <a:pt x="0" y="0"/>
                  </a:lnTo>
                  <a:lnTo>
                    <a:pt x="0" y="12002"/>
                  </a:lnTo>
                  <a:lnTo>
                    <a:pt x="71152" y="12002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52D5FE53-E54A-FD50-0F91-0FE4929E397F}"/>
                </a:ext>
              </a:extLst>
            </p:cNvPr>
            <p:cNvSpPr/>
            <p:nvPr/>
          </p:nvSpPr>
          <p:spPr>
            <a:xfrm>
              <a:off x="5884022" y="2731565"/>
              <a:ext cx="53816" cy="56673"/>
            </a:xfrm>
            <a:custGeom>
              <a:avLst/>
              <a:gdLst>
                <a:gd name="connsiteX0" fmla="*/ 53816 w 53816"/>
                <a:gd name="connsiteY0" fmla="*/ 56674 h 56673"/>
                <a:gd name="connsiteX1" fmla="*/ 53816 w 53816"/>
                <a:gd name="connsiteY1" fmla="*/ 0 h 56673"/>
                <a:gd name="connsiteX2" fmla="*/ 0 w 53816"/>
                <a:gd name="connsiteY2" fmla="*/ 0 h 56673"/>
                <a:gd name="connsiteX3" fmla="*/ 0 w 53816"/>
                <a:gd name="connsiteY3" fmla="*/ 56674 h 56673"/>
                <a:gd name="connsiteX4" fmla="*/ 53816 w 53816"/>
                <a:gd name="connsiteY4" fmla="*/ 56674 h 5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16" h="56673">
                  <a:moveTo>
                    <a:pt x="53816" y="56674"/>
                  </a:moveTo>
                  <a:lnTo>
                    <a:pt x="53816" y="0"/>
                  </a:lnTo>
                  <a:lnTo>
                    <a:pt x="0" y="0"/>
                  </a:lnTo>
                  <a:lnTo>
                    <a:pt x="0" y="56674"/>
                  </a:lnTo>
                  <a:lnTo>
                    <a:pt x="53816" y="5667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F3B7BB38-D64F-A8D7-987C-89637780B957}"/>
                </a:ext>
              </a:extLst>
            </p:cNvPr>
            <p:cNvSpPr/>
            <p:nvPr/>
          </p:nvSpPr>
          <p:spPr>
            <a:xfrm>
              <a:off x="5609321" y="2722612"/>
              <a:ext cx="98107" cy="78009"/>
            </a:xfrm>
            <a:custGeom>
              <a:avLst/>
              <a:gdLst>
                <a:gd name="connsiteX0" fmla="*/ 98108 w 98107"/>
                <a:gd name="connsiteY0" fmla="*/ 78010 h 78009"/>
                <a:gd name="connsiteX1" fmla="*/ 98108 w 98107"/>
                <a:gd name="connsiteY1" fmla="*/ 0 h 78009"/>
                <a:gd name="connsiteX2" fmla="*/ 0 w 98107"/>
                <a:gd name="connsiteY2" fmla="*/ 0 h 78009"/>
                <a:gd name="connsiteX3" fmla="*/ 0 w 98107"/>
                <a:gd name="connsiteY3" fmla="*/ 78010 h 78009"/>
                <a:gd name="connsiteX4" fmla="*/ 98108 w 98107"/>
                <a:gd name="connsiteY4" fmla="*/ 78010 h 78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107" h="78009">
                  <a:moveTo>
                    <a:pt x="98108" y="78010"/>
                  </a:moveTo>
                  <a:lnTo>
                    <a:pt x="98108" y="0"/>
                  </a:lnTo>
                  <a:lnTo>
                    <a:pt x="0" y="0"/>
                  </a:lnTo>
                  <a:lnTo>
                    <a:pt x="0" y="78010"/>
                  </a:lnTo>
                  <a:lnTo>
                    <a:pt x="98108" y="7801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1579C1B5-3952-8B3E-135F-6BA71275BC44}"/>
                </a:ext>
              </a:extLst>
            </p:cNvPr>
            <p:cNvSpPr/>
            <p:nvPr/>
          </p:nvSpPr>
          <p:spPr>
            <a:xfrm>
              <a:off x="5767817" y="2723469"/>
              <a:ext cx="124967" cy="75533"/>
            </a:xfrm>
            <a:custGeom>
              <a:avLst/>
              <a:gdLst>
                <a:gd name="connsiteX0" fmla="*/ 124968 w 124967"/>
                <a:gd name="connsiteY0" fmla="*/ 75533 h 75533"/>
                <a:gd name="connsiteX1" fmla="*/ 124968 w 124967"/>
                <a:gd name="connsiteY1" fmla="*/ 0 h 75533"/>
                <a:gd name="connsiteX2" fmla="*/ 0 w 124967"/>
                <a:gd name="connsiteY2" fmla="*/ 0 h 75533"/>
                <a:gd name="connsiteX3" fmla="*/ 0 w 124967"/>
                <a:gd name="connsiteY3" fmla="*/ 75533 h 75533"/>
                <a:gd name="connsiteX4" fmla="*/ 124968 w 124967"/>
                <a:gd name="connsiteY4" fmla="*/ 75533 h 7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67" h="75533">
                  <a:moveTo>
                    <a:pt x="124968" y="75533"/>
                  </a:moveTo>
                  <a:lnTo>
                    <a:pt x="124968" y="0"/>
                  </a:lnTo>
                  <a:lnTo>
                    <a:pt x="0" y="0"/>
                  </a:lnTo>
                  <a:lnTo>
                    <a:pt x="0" y="75533"/>
                  </a:lnTo>
                  <a:lnTo>
                    <a:pt x="124968" y="75533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CDE3005E-C3F1-7DA6-E500-04B44C8C2698}"/>
                </a:ext>
              </a:extLst>
            </p:cNvPr>
            <p:cNvSpPr/>
            <p:nvPr/>
          </p:nvSpPr>
          <p:spPr>
            <a:xfrm>
              <a:off x="5656661" y="2735471"/>
              <a:ext cx="48577" cy="48577"/>
            </a:xfrm>
            <a:custGeom>
              <a:avLst/>
              <a:gdLst>
                <a:gd name="connsiteX0" fmla="*/ 48578 w 48577"/>
                <a:gd name="connsiteY0" fmla="*/ 24289 h 48577"/>
                <a:gd name="connsiteX1" fmla="*/ 24289 w 48577"/>
                <a:gd name="connsiteY1" fmla="*/ 48577 h 48577"/>
                <a:gd name="connsiteX2" fmla="*/ 0 w 48577"/>
                <a:gd name="connsiteY2" fmla="*/ 24289 h 48577"/>
                <a:gd name="connsiteX3" fmla="*/ 24289 w 48577"/>
                <a:gd name="connsiteY3" fmla="*/ 0 h 48577"/>
                <a:gd name="connsiteX4" fmla="*/ 48578 w 48577"/>
                <a:gd name="connsiteY4" fmla="*/ 24289 h 48577"/>
                <a:gd name="connsiteX5" fmla="*/ 48578 w 48577"/>
                <a:gd name="connsiteY5" fmla="*/ 24289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8577">
                  <a:moveTo>
                    <a:pt x="48578" y="24289"/>
                  </a:moveTo>
                  <a:cubicBezTo>
                    <a:pt x="48578" y="37719"/>
                    <a:pt x="37719" y="48577"/>
                    <a:pt x="24289" y="48577"/>
                  </a:cubicBezTo>
                  <a:cubicBezTo>
                    <a:pt x="10858" y="48577"/>
                    <a:pt x="0" y="37624"/>
                    <a:pt x="0" y="24289"/>
                  </a:cubicBezTo>
                  <a:cubicBezTo>
                    <a:pt x="0" y="10858"/>
                    <a:pt x="10858" y="0"/>
                    <a:pt x="24289" y="0"/>
                  </a:cubicBezTo>
                  <a:cubicBezTo>
                    <a:pt x="37719" y="0"/>
                    <a:pt x="48578" y="10858"/>
                    <a:pt x="48578" y="24289"/>
                  </a:cubicBezTo>
                  <a:lnTo>
                    <a:pt x="48578" y="2428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06018F47-C54A-075D-36F3-6ED0B2C2365F}"/>
                </a:ext>
              </a:extLst>
            </p:cNvPr>
            <p:cNvSpPr/>
            <p:nvPr/>
          </p:nvSpPr>
          <p:spPr>
            <a:xfrm>
              <a:off x="5718192" y="2927780"/>
              <a:ext cx="48577" cy="48577"/>
            </a:xfrm>
            <a:custGeom>
              <a:avLst/>
              <a:gdLst>
                <a:gd name="connsiteX0" fmla="*/ 48577 w 48577"/>
                <a:gd name="connsiteY0" fmla="*/ 24289 h 48577"/>
                <a:gd name="connsiteX1" fmla="*/ 24289 w 48577"/>
                <a:gd name="connsiteY1" fmla="*/ 48577 h 48577"/>
                <a:gd name="connsiteX2" fmla="*/ 0 w 48577"/>
                <a:gd name="connsiteY2" fmla="*/ 24289 h 48577"/>
                <a:gd name="connsiteX3" fmla="*/ 24289 w 48577"/>
                <a:gd name="connsiteY3" fmla="*/ 0 h 48577"/>
                <a:gd name="connsiteX4" fmla="*/ 48577 w 48577"/>
                <a:gd name="connsiteY4" fmla="*/ 24289 h 48577"/>
                <a:gd name="connsiteX5" fmla="*/ 48577 w 48577"/>
                <a:gd name="connsiteY5" fmla="*/ 24289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8577">
                  <a:moveTo>
                    <a:pt x="48577" y="24289"/>
                  </a:moveTo>
                  <a:cubicBezTo>
                    <a:pt x="48577" y="37719"/>
                    <a:pt x="37719" y="48577"/>
                    <a:pt x="24289" y="48577"/>
                  </a:cubicBezTo>
                  <a:cubicBezTo>
                    <a:pt x="10858" y="48577"/>
                    <a:pt x="0" y="37719"/>
                    <a:pt x="0" y="24289"/>
                  </a:cubicBezTo>
                  <a:cubicBezTo>
                    <a:pt x="0" y="10858"/>
                    <a:pt x="10858" y="0"/>
                    <a:pt x="24289" y="0"/>
                  </a:cubicBezTo>
                  <a:cubicBezTo>
                    <a:pt x="37719" y="0"/>
                    <a:pt x="48577" y="10858"/>
                    <a:pt x="48577" y="24289"/>
                  </a:cubicBezTo>
                  <a:lnTo>
                    <a:pt x="48577" y="2428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C5E9FE78-3F9A-75C9-2C92-A2E6601517F9}"/>
                </a:ext>
              </a:extLst>
            </p:cNvPr>
            <p:cNvSpPr/>
            <p:nvPr/>
          </p:nvSpPr>
          <p:spPr>
            <a:xfrm>
              <a:off x="5609321" y="2771761"/>
              <a:ext cx="19431" cy="19430"/>
            </a:xfrm>
            <a:custGeom>
              <a:avLst/>
              <a:gdLst>
                <a:gd name="connsiteX0" fmla="*/ 19431 w 19431"/>
                <a:gd name="connsiteY0" fmla="*/ 9716 h 19430"/>
                <a:gd name="connsiteX1" fmla="*/ 9716 w 19431"/>
                <a:gd name="connsiteY1" fmla="*/ 19431 h 19430"/>
                <a:gd name="connsiteX2" fmla="*/ 0 w 19431"/>
                <a:gd name="connsiteY2" fmla="*/ 9716 h 19430"/>
                <a:gd name="connsiteX3" fmla="*/ 9716 w 19431"/>
                <a:gd name="connsiteY3" fmla="*/ 0 h 19430"/>
                <a:gd name="connsiteX4" fmla="*/ 19431 w 19431"/>
                <a:gd name="connsiteY4" fmla="*/ 9716 h 19430"/>
                <a:gd name="connsiteX5" fmla="*/ 19431 w 19431"/>
                <a:gd name="connsiteY5" fmla="*/ 9716 h 19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31" h="19430">
                  <a:moveTo>
                    <a:pt x="19431" y="9716"/>
                  </a:moveTo>
                  <a:cubicBezTo>
                    <a:pt x="19431" y="15050"/>
                    <a:pt x="15050" y="19431"/>
                    <a:pt x="9716" y="19431"/>
                  </a:cubicBezTo>
                  <a:cubicBezTo>
                    <a:pt x="4382" y="19431"/>
                    <a:pt x="0" y="15050"/>
                    <a:pt x="0" y="9716"/>
                  </a:cubicBezTo>
                  <a:cubicBezTo>
                    <a:pt x="0" y="4381"/>
                    <a:pt x="4382" y="0"/>
                    <a:pt x="9716" y="0"/>
                  </a:cubicBezTo>
                  <a:cubicBezTo>
                    <a:pt x="15145" y="0"/>
                    <a:pt x="19431" y="4381"/>
                    <a:pt x="19431" y="9716"/>
                  </a:cubicBezTo>
                  <a:lnTo>
                    <a:pt x="19431" y="971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0A9D2AC1-47B5-5CF8-7B23-96D011288AA0}"/>
                </a:ext>
              </a:extLst>
            </p:cNvPr>
            <p:cNvSpPr/>
            <p:nvPr/>
          </p:nvSpPr>
          <p:spPr>
            <a:xfrm>
              <a:off x="5915741" y="3045890"/>
              <a:ext cx="19431" cy="19431"/>
            </a:xfrm>
            <a:custGeom>
              <a:avLst/>
              <a:gdLst>
                <a:gd name="connsiteX0" fmla="*/ 19431 w 19431"/>
                <a:gd name="connsiteY0" fmla="*/ 9716 h 19431"/>
                <a:gd name="connsiteX1" fmla="*/ 9716 w 19431"/>
                <a:gd name="connsiteY1" fmla="*/ 19431 h 19431"/>
                <a:gd name="connsiteX2" fmla="*/ 0 w 19431"/>
                <a:gd name="connsiteY2" fmla="*/ 9716 h 19431"/>
                <a:gd name="connsiteX3" fmla="*/ 9716 w 19431"/>
                <a:gd name="connsiteY3" fmla="*/ 0 h 19431"/>
                <a:gd name="connsiteX4" fmla="*/ 19431 w 19431"/>
                <a:gd name="connsiteY4" fmla="*/ 9716 h 19431"/>
                <a:gd name="connsiteX5" fmla="*/ 19431 w 19431"/>
                <a:gd name="connsiteY5" fmla="*/ 9716 h 19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31" h="19431">
                  <a:moveTo>
                    <a:pt x="19431" y="9716"/>
                  </a:moveTo>
                  <a:cubicBezTo>
                    <a:pt x="19431" y="15050"/>
                    <a:pt x="15050" y="19431"/>
                    <a:pt x="9716" y="19431"/>
                  </a:cubicBezTo>
                  <a:cubicBezTo>
                    <a:pt x="4382" y="19431"/>
                    <a:pt x="0" y="15050"/>
                    <a:pt x="0" y="9716"/>
                  </a:cubicBezTo>
                  <a:cubicBezTo>
                    <a:pt x="0" y="4382"/>
                    <a:pt x="4382" y="0"/>
                    <a:pt x="9716" y="0"/>
                  </a:cubicBezTo>
                  <a:cubicBezTo>
                    <a:pt x="15145" y="95"/>
                    <a:pt x="19431" y="4382"/>
                    <a:pt x="19431" y="9716"/>
                  </a:cubicBezTo>
                  <a:lnTo>
                    <a:pt x="19431" y="971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D9A49FE6-E93D-436F-6EB4-25A1AC6E48F9}"/>
                </a:ext>
              </a:extLst>
            </p:cNvPr>
            <p:cNvSpPr/>
            <p:nvPr/>
          </p:nvSpPr>
          <p:spPr>
            <a:xfrm>
              <a:off x="5801917" y="2938353"/>
              <a:ext cx="26670" cy="26669"/>
            </a:xfrm>
            <a:custGeom>
              <a:avLst/>
              <a:gdLst>
                <a:gd name="connsiteX0" fmla="*/ 26670 w 26670"/>
                <a:gd name="connsiteY0" fmla="*/ 13335 h 26669"/>
                <a:gd name="connsiteX1" fmla="*/ 13335 w 26670"/>
                <a:gd name="connsiteY1" fmla="*/ 26670 h 26669"/>
                <a:gd name="connsiteX2" fmla="*/ 0 w 26670"/>
                <a:gd name="connsiteY2" fmla="*/ 13335 h 26669"/>
                <a:gd name="connsiteX3" fmla="*/ 13335 w 26670"/>
                <a:gd name="connsiteY3" fmla="*/ 0 h 26669"/>
                <a:gd name="connsiteX4" fmla="*/ 26670 w 26670"/>
                <a:gd name="connsiteY4" fmla="*/ 13335 h 26669"/>
                <a:gd name="connsiteX5" fmla="*/ 26670 w 26670"/>
                <a:gd name="connsiteY5" fmla="*/ 13335 h 2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" h="26669">
                  <a:moveTo>
                    <a:pt x="26670" y="13335"/>
                  </a:moveTo>
                  <a:cubicBezTo>
                    <a:pt x="26670" y="20669"/>
                    <a:pt x="20669" y="26670"/>
                    <a:pt x="13335" y="26670"/>
                  </a:cubicBezTo>
                  <a:cubicBezTo>
                    <a:pt x="6001" y="26670"/>
                    <a:pt x="0" y="20669"/>
                    <a:pt x="0" y="13335"/>
                  </a:cubicBezTo>
                  <a:cubicBezTo>
                    <a:pt x="0" y="6001"/>
                    <a:pt x="6001" y="0"/>
                    <a:pt x="13335" y="0"/>
                  </a:cubicBezTo>
                  <a:cubicBezTo>
                    <a:pt x="20669" y="0"/>
                    <a:pt x="26670" y="6001"/>
                    <a:pt x="26670" y="13335"/>
                  </a:cubicBezTo>
                  <a:lnTo>
                    <a:pt x="26670" y="13335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5017CA15-1693-1EC7-E6C6-710F10AE0675}"/>
                </a:ext>
              </a:extLst>
            </p:cNvPr>
            <p:cNvSpPr/>
            <p:nvPr/>
          </p:nvSpPr>
          <p:spPr>
            <a:xfrm>
              <a:off x="5524168" y="3048557"/>
              <a:ext cx="14668" cy="14668"/>
            </a:xfrm>
            <a:custGeom>
              <a:avLst/>
              <a:gdLst>
                <a:gd name="connsiteX0" fmla="*/ 14669 w 14668"/>
                <a:gd name="connsiteY0" fmla="*/ 7334 h 14668"/>
                <a:gd name="connsiteX1" fmla="*/ 7334 w 14668"/>
                <a:gd name="connsiteY1" fmla="*/ 14669 h 14668"/>
                <a:gd name="connsiteX2" fmla="*/ 0 w 14668"/>
                <a:gd name="connsiteY2" fmla="*/ 7334 h 14668"/>
                <a:gd name="connsiteX3" fmla="*/ 7334 w 14668"/>
                <a:gd name="connsiteY3" fmla="*/ 0 h 14668"/>
                <a:gd name="connsiteX4" fmla="*/ 14669 w 14668"/>
                <a:gd name="connsiteY4" fmla="*/ 7334 h 14668"/>
                <a:gd name="connsiteX5" fmla="*/ 14669 w 14668"/>
                <a:gd name="connsiteY5" fmla="*/ 7334 h 14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68" h="14668">
                  <a:moveTo>
                    <a:pt x="14669" y="7334"/>
                  </a:moveTo>
                  <a:cubicBezTo>
                    <a:pt x="14669" y="11335"/>
                    <a:pt x="11335" y="14669"/>
                    <a:pt x="7334" y="14669"/>
                  </a:cubicBezTo>
                  <a:cubicBezTo>
                    <a:pt x="3238" y="14669"/>
                    <a:pt x="0" y="11335"/>
                    <a:pt x="0" y="7334"/>
                  </a:cubicBezTo>
                  <a:cubicBezTo>
                    <a:pt x="0" y="3334"/>
                    <a:pt x="3334" y="0"/>
                    <a:pt x="7334" y="0"/>
                  </a:cubicBezTo>
                  <a:cubicBezTo>
                    <a:pt x="11430" y="0"/>
                    <a:pt x="14669" y="3334"/>
                    <a:pt x="14669" y="7334"/>
                  </a:cubicBezTo>
                  <a:lnTo>
                    <a:pt x="14669" y="7334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FC511B61-3939-2981-3E6F-45DC8CBF24CB}"/>
                </a:ext>
              </a:extLst>
            </p:cNvPr>
            <p:cNvSpPr/>
            <p:nvPr/>
          </p:nvSpPr>
          <p:spPr>
            <a:xfrm>
              <a:off x="5408246" y="2877774"/>
              <a:ext cx="138782" cy="240220"/>
            </a:xfrm>
            <a:custGeom>
              <a:avLst/>
              <a:gdLst>
                <a:gd name="connsiteX0" fmla="*/ 117637 w 138782"/>
                <a:gd name="connsiteY0" fmla="*/ 223457 h 240220"/>
                <a:gd name="connsiteX1" fmla="*/ 115541 w 138782"/>
                <a:gd name="connsiteY1" fmla="*/ 228410 h 240220"/>
                <a:gd name="connsiteX2" fmla="*/ 109731 w 138782"/>
                <a:gd name="connsiteY2" fmla="*/ 230029 h 240220"/>
                <a:gd name="connsiteX3" fmla="*/ 19053 w 138782"/>
                <a:gd name="connsiteY3" fmla="*/ 230791 h 240220"/>
                <a:gd name="connsiteX4" fmla="*/ 11719 w 138782"/>
                <a:gd name="connsiteY4" fmla="*/ 226028 h 240220"/>
                <a:gd name="connsiteX5" fmla="*/ 10290 w 138782"/>
                <a:gd name="connsiteY5" fmla="*/ 213741 h 240220"/>
                <a:gd name="connsiteX6" fmla="*/ 10861 w 138782"/>
                <a:gd name="connsiteY6" fmla="*/ 18860 h 240220"/>
                <a:gd name="connsiteX7" fmla="*/ 12957 w 138782"/>
                <a:gd name="connsiteY7" fmla="*/ 12859 h 240220"/>
                <a:gd name="connsiteX8" fmla="*/ 18862 w 138782"/>
                <a:gd name="connsiteY8" fmla="*/ 10382 h 240220"/>
                <a:gd name="connsiteX9" fmla="*/ 117160 w 138782"/>
                <a:gd name="connsiteY9" fmla="*/ 9811 h 240220"/>
                <a:gd name="connsiteX10" fmla="*/ 127162 w 138782"/>
                <a:gd name="connsiteY10" fmla="*/ 13716 h 240220"/>
                <a:gd name="connsiteX11" fmla="*/ 129352 w 138782"/>
                <a:gd name="connsiteY11" fmla="*/ 42577 h 240220"/>
                <a:gd name="connsiteX12" fmla="*/ 138782 w 138782"/>
                <a:gd name="connsiteY12" fmla="*/ 42577 h 240220"/>
                <a:gd name="connsiteX13" fmla="*/ 138497 w 138782"/>
                <a:gd name="connsiteY13" fmla="*/ 18193 h 240220"/>
                <a:gd name="connsiteX14" fmla="*/ 133258 w 138782"/>
                <a:gd name="connsiteY14" fmla="*/ 4953 h 240220"/>
                <a:gd name="connsiteX15" fmla="*/ 120399 w 138782"/>
                <a:gd name="connsiteY15" fmla="*/ 0 h 240220"/>
                <a:gd name="connsiteX16" fmla="*/ 18862 w 138782"/>
                <a:gd name="connsiteY16" fmla="*/ 857 h 240220"/>
                <a:gd name="connsiteX17" fmla="*/ 4765 w 138782"/>
                <a:gd name="connsiteY17" fmla="*/ 6572 h 240220"/>
                <a:gd name="connsiteX18" fmla="*/ 3 w 138782"/>
                <a:gd name="connsiteY18" fmla="*/ 19050 h 240220"/>
                <a:gd name="connsiteX19" fmla="*/ 670 w 138782"/>
                <a:gd name="connsiteY19" fmla="*/ 216027 h 240220"/>
                <a:gd name="connsiteX20" fmla="*/ 5337 w 138782"/>
                <a:gd name="connsiteY20" fmla="*/ 233934 h 240220"/>
                <a:gd name="connsiteX21" fmla="*/ 19148 w 138782"/>
                <a:gd name="connsiteY21" fmla="*/ 239935 h 240220"/>
                <a:gd name="connsiteX22" fmla="*/ 110112 w 138782"/>
                <a:gd name="connsiteY22" fmla="*/ 240221 h 240220"/>
                <a:gd name="connsiteX23" fmla="*/ 122971 w 138782"/>
                <a:gd name="connsiteY23" fmla="*/ 235077 h 240220"/>
                <a:gd name="connsiteX24" fmla="*/ 128210 w 138782"/>
                <a:gd name="connsiteY24" fmla="*/ 225362 h 240220"/>
                <a:gd name="connsiteX25" fmla="*/ 117637 w 138782"/>
                <a:gd name="connsiteY25" fmla="*/ 223457 h 240220"/>
                <a:gd name="connsiteX26" fmla="*/ 117637 w 138782"/>
                <a:gd name="connsiteY26" fmla="*/ 223457 h 240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8782" h="240220">
                  <a:moveTo>
                    <a:pt x="117637" y="223457"/>
                  </a:moveTo>
                  <a:cubicBezTo>
                    <a:pt x="117637" y="223457"/>
                    <a:pt x="117160" y="227171"/>
                    <a:pt x="115541" y="228410"/>
                  </a:cubicBezTo>
                  <a:cubicBezTo>
                    <a:pt x="113636" y="229838"/>
                    <a:pt x="109731" y="230029"/>
                    <a:pt x="109731" y="230029"/>
                  </a:cubicBezTo>
                  <a:lnTo>
                    <a:pt x="19053" y="230791"/>
                  </a:lnTo>
                  <a:cubicBezTo>
                    <a:pt x="19053" y="230791"/>
                    <a:pt x="13528" y="231267"/>
                    <a:pt x="11719" y="226028"/>
                  </a:cubicBezTo>
                  <a:cubicBezTo>
                    <a:pt x="10004" y="220790"/>
                    <a:pt x="10290" y="213741"/>
                    <a:pt x="10290" y="213741"/>
                  </a:cubicBezTo>
                  <a:lnTo>
                    <a:pt x="10861" y="18860"/>
                  </a:lnTo>
                  <a:cubicBezTo>
                    <a:pt x="10861" y="18860"/>
                    <a:pt x="10195" y="15621"/>
                    <a:pt x="12957" y="12859"/>
                  </a:cubicBezTo>
                  <a:cubicBezTo>
                    <a:pt x="15719" y="10097"/>
                    <a:pt x="18862" y="10382"/>
                    <a:pt x="18862" y="10382"/>
                  </a:cubicBezTo>
                  <a:lnTo>
                    <a:pt x="117160" y="9811"/>
                  </a:lnTo>
                  <a:cubicBezTo>
                    <a:pt x="117160" y="9811"/>
                    <a:pt x="123447" y="10001"/>
                    <a:pt x="127162" y="13716"/>
                  </a:cubicBezTo>
                  <a:cubicBezTo>
                    <a:pt x="130114" y="16669"/>
                    <a:pt x="129352" y="42577"/>
                    <a:pt x="129352" y="42577"/>
                  </a:cubicBezTo>
                  <a:lnTo>
                    <a:pt x="138782" y="42577"/>
                  </a:lnTo>
                  <a:lnTo>
                    <a:pt x="138497" y="18193"/>
                  </a:lnTo>
                  <a:cubicBezTo>
                    <a:pt x="138497" y="18193"/>
                    <a:pt x="138497" y="10001"/>
                    <a:pt x="133258" y="4953"/>
                  </a:cubicBezTo>
                  <a:cubicBezTo>
                    <a:pt x="128019" y="-95"/>
                    <a:pt x="120399" y="0"/>
                    <a:pt x="120399" y="0"/>
                  </a:cubicBezTo>
                  <a:lnTo>
                    <a:pt x="18862" y="857"/>
                  </a:lnTo>
                  <a:cubicBezTo>
                    <a:pt x="18862" y="857"/>
                    <a:pt x="9814" y="-857"/>
                    <a:pt x="4765" y="6572"/>
                  </a:cubicBezTo>
                  <a:cubicBezTo>
                    <a:pt x="-283" y="14002"/>
                    <a:pt x="3" y="19050"/>
                    <a:pt x="3" y="19050"/>
                  </a:cubicBezTo>
                  <a:lnTo>
                    <a:pt x="670" y="216027"/>
                  </a:lnTo>
                  <a:cubicBezTo>
                    <a:pt x="670" y="216027"/>
                    <a:pt x="-92" y="228124"/>
                    <a:pt x="5337" y="233934"/>
                  </a:cubicBezTo>
                  <a:cubicBezTo>
                    <a:pt x="11719" y="240792"/>
                    <a:pt x="19148" y="239935"/>
                    <a:pt x="19148" y="239935"/>
                  </a:cubicBezTo>
                  <a:lnTo>
                    <a:pt x="110112" y="240221"/>
                  </a:lnTo>
                  <a:cubicBezTo>
                    <a:pt x="110112" y="240221"/>
                    <a:pt x="118589" y="239744"/>
                    <a:pt x="122971" y="235077"/>
                  </a:cubicBezTo>
                  <a:cubicBezTo>
                    <a:pt x="127352" y="230410"/>
                    <a:pt x="128210" y="225362"/>
                    <a:pt x="128210" y="225362"/>
                  </a:cubicBezTo>
                  <a:lnTo>
                    <a:pt x="117637" y="223457"/>
                  </a:lnTo>
                  <a:lnTo>
                    <a:pt x="117637" y="223457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B2C9674B-41D6-F4EE-3B24-BEA05E725BB6}"/>
                </a:ext>
              </a:extLst>
            </p:cNvPr>
            <p:cNvSpPr/>
            <p:nvPr/>
          </p:nvSpPr>
          <p:spPr>
            <a:xfrm>
              <a:off x="5490164" y="2773291"/>
              <a:ext cx="439875" cy="288221"/>
            </a:xfrm>
            <a:custGeom>
              <a:avLst/>
              <a:gdLst>
                <a:gd name="connsiteX0" fmla="*/ 130683 w 439875"/>
                <a:gd name="connsiteY0" fmla="*/ 15043 h 288221"/>
                <a:gd name="connsiteX1" fmla="*/ 22955 w 439875"/>
                <a:gd name="connsiteY1" fmla="*/ 34284 h 288221"/>
                <a:gd name="connsiteX2" fmla="*/ 18193 w 439875"/>
                <a:gd name="connsiteY2" fmla="*/ 37237 h 288221"/>
                <a:gd name="connsiteX3" fmla="*/ 15621 w 439875"/>
                <a:gd name="connsiteY3" fmla="*/ 43237 h 288221"/>
                <a:gd name="connsiteX4" fmla="*/ 15050 w 439875"/>
                <a:gd name="connsiteY4" fmla="*/ 192684 h 288221"/>
                <a:gd name="connsiteX5" fmla="*/ 19907 w 439875"/>
                <a:gd name="connsiteY5" fmla="*/ 201447 h 288221"/>
                <a:gd name="connsiteX6" fmla="*/ 28670 w 439875"/>
                <a:gd name="connsiteY6" fmla="*/ 205543 h 288221"/>
                <a:gd name="connsiteX7" fmla="*/ 421291 w 439875"/>
                <a:gd name="connsiteY7" fmla="*/ 207543 h 288221"/>
                <a:gd name="connsiteX8" fmla="*/ 435007 w 439875"/>
                <a:gd name="connsiteY8" fmla="*/ 212592 h 288221"/>
                <a:gd name="connsiteX9" fmla="*/ 439864 w 439875"/>
                <a:gd name="connsiteY9" fmla="*/ 226498 h 288221"/>
                <a:gd name="connsiteX10" fmla="*/ 439769 w 439875"/>
                <a:gd name="connsiteY10" fmla="*/ 283743 h 288221"/>
                <a:gd name="connsiteX11" fmla="*/ 434530 w 439875"/>
                <a:gd name="connsiteY11" fmla="*/ 288220 h 288221"/>
                <a:gd name="connsiteX12" fmla="*/ 429863 w 439875"/>
                <a:gd name="connsiteY12" fmla="*/ 283743 h 288221"/>
                <a:gd name="connsiteX13" fmla="*/ 429577 w 439875"/>
                <a:gd name="connsiteY13" fmla="*/ 226403 h 288221"/>
                <a:gd name="connsiteX14" fmla="*/ 427292 w 439875"/>
                <a:gd name="connsiteY14" fmla="*/ 220021 h 288221"/>
                <a:gd name="connsiteX15" fmla="*/ 421100 w 439875"/>
                <a:gd name="connsiteY15" fmla="*/ 217735 h 288221"/>
                <a:gd name="connsiteX16" fmla="*/ 28289 w 439875"/>
                <a:gd name="connsiteY16" fmla="*/ 219831 h 288221"/>
                <a:gd name="connsiteX17" fmla="*/ 9525 w 439875"/>
                <a:gd name="connsiteY17" fmla="*/ 211830 h 288221"/>
                <a:gd name="connsiteX18" fmla="*/ 0 w 439875"/>
                <a:gd name="connsiteY18" fmla="*/ 194875 h 288221"/>
                <a:gd name="connsiteX19" fmla="*/ 1429 w 439875"/>
                <a:gd name="connsiteY19" fmla="*/ 42094 h 288221"/>
                <a:gd name="connsiteX20" fmla="*/ 7715 w 439875"/>
                <a:gd name="connsiteY20" fmla="*/ 25330 h 288221"/>
                <a:gd name="connsiteX21" fmla="*/ 19907 w 439875"/>
                <a:gd name="connsiteY21" fmla="*/ 19139 h 288221"/>
                <a:gd name="connsiteX22" fmla="*/ 127825 w 439875"/>
                <a:gd name="connsiteY22" fmla="*/ 89 h 288221"/>
                <a:gd name="connsiteX23" fmla="*/ 135731 w 439875"/>
                <a:gd name="connsiteY23" fmla="*/ 5613 h 288221"/>
                <a:gd name="connsiteX24" fmla="*/ 130683 w 439875"/>
                <a:gd name="connsiteY24" fmla="*/ 15043 h 288221"/>
                <a:gd name="connsiteX25" fmla="*/ 130683 w 439875"/>
                <a:gd name="connsiteY25" fmla="*/ 15043 h 288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9875" h="288221">
                  <a:moveTo>
                    <a:pt x="130683" y="15043"/>
                  </a:moveTo>
                  <a:lnTo>
                    <a:pt x="22955" y="34284"/>
                  </a:lnTo>
                  <a:cubicBezTo>
                    <a:pt x="22955" y="34284"/>
                    <a:pt x="19526" y="35141"/>
                    <a:pt x="18193" y="37237"/>
                  </a:cubicBezTo>
                  <a:cubicBezTo>
                    <a:pt x="16192" y="40380"/>
                    <a:pt x="15621" y="43237"/>
                    <a:pt x="15621" y="43237"/>
                  </a:cubicBezTo>
                  <a:lnTo>
                    <a:pt x="15050" y="192684"/>
                  </a:lnTo>
                  <a:cubicBezTo>
                    <a:pt x="15050" y="192684"/>
                    <a:pt x="16954" y="198876"/>
                    <a:pt x="19907" y="201447"/>
                  </a:cubicBezTo>
                  <a:cubicBezTo>
                    <a:pt x="22765" y="203829"/>
                    <a:pt x="28670" y="205543"/>
                    <a:pt x="28670" y="205543"/>
                  </a:cubicBezTo>
                  <a:lnTo>
                    <a:pt x="421291" y="207543"/>
                  </a:lnTo>
                  <a:cubicBezTo>
                    <a:pt x="421291" y="207543"/>
                    <a:pt x="428054" y="205829"/>
                    <a:pt x="435007" y="212592"/>
                  </a:cubicBezTo>
                  <a:cubicBezTo>
                    <a:pt x="440341" y="217830"/>
                    <a:pt x="439864" y="226498"/>
                    <a:pt x="439864" y="226498"/>
                  </a:cubicBezTo>
                  <a:lnTo>
                    <a:pt x="439769" y="283743"/>
                  </a:lnTo>
                  <a:cubicBezTo>
                    <a:pt x="439769" y="283743"/>
                    <a:pt x="438817" y="288220"/>
                    <a:pt x="434530" y="288220"/>
                  </a:cubicBezTo>
                  <a:cubicBezTo>
                    <a:pt x="430244" y="288315"/>
                    <a:pt x="429863" y="283743"/>
                    <a:pt x="429863" y="283743"/>
                  </a:cubicBezTo>
                  <a:lnTo>
                    <a:pt x="429577" y="226403"/>
                  </a:lnTo>
                  <a:cubicBezTo>
                    <a:pt x="429577" y="226403"/>
                    <a:pt x="430149" y="222402"/>
                    <a:pt x="427292" y="220021"/>
                  </a:cubicBezTo>
                  <a:cubicBezTo>
                    <a:pt x="423767" y="217164"/>
                    <a:pt x="421100" y="217735"/>
                    <a:pt x="421100" y="217735"/>
                  </a:cubicBezTo>
                  <a:lnTo>
                    <a:pt x="28289" y="219831"/>
                  </a:lnTo>
                  <a:cubicBezTo>
                    <a:pt x="28289" y="219831"/>
                    <a:pt x="16859" y="219259"/>
                    <a:pt x="9525" y="211830"/>
                  </a:cubicBezTo>
                  <a:cubicBezTo>
                    <a:pt x="667" y="202971"/>
                    <a:pt x="0" y="194875"/>
                    <a:pt x="0" y="194875"/>
                  </a:cubicBezTo>
                  <a:lnTo>
                    <a:pt x="1429" y="42094"/>
                  </a:lnTo>
                  <a:cubicBezTo>
                    <a:pt x="1429" y="42094"/>
                    <a:pt x="1714" y="31140"/>
                    <a:pt x="7715" y="25330"/>
                  </a:cubicBezTo>
                  <a:cubicBezTo>
                    <a:pt x="14097" y="19234"/>
                    <a:pt x="19907" y="19139"/>
                    <a:pt x="19907" y="19139"/>
                  </a:cubicBezTo>
                  <a:lnTo>
                    <a:pt x="127825" y="89"/>
                  </a:lnTo>
                  <a:cubicBezTo>
                    <a:pt x="127825" y="89"/>
                    <a:pt x="134207" y="-1149"/>
                    <a:pt x="135731" y="5613"/>
                  </a:cubicBezTo>
                  <a:cubicBezTo>
                    <a:pt x="137446" y="12567"/>
                    <a:pt x="130683" y="15043"/>
                    <a:pt x="130683" y="15043"/>
                  </a:cubicBezTo>
                  <a:lnTo>
                    <a:pt x="130683" y="15043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FF99DFD6-BB92-42B9-52DF-F7ABEAF49934}"/>
                </a:ext>
              </a:extLst>
            </p:cNvPr>
            <p:cNvSpPr/>
            <p:nvPr/>
          </p:nvSpPr>
          <p:spPr>
            <a:xfrm>
              <a:off x="5376912" y="2739566"/>
              <a:ext cx="384333" cy="232056"/>
            </a:xfrm>
            <a:custGeom>
              <a:avLst/>
              <a:gdLst>
                <a:gd name="connsiteX0" fmla="*/ 77914 w 384333"/>
                <a:gd name="connsiteY0" fmla="*/ 192405 h 232056"/>
                <a:gd name="connsiteX1" fmla="*/ 363474 w 384333"/>
                <a:gd name="connsiteY1" fmla="*/ 192405 h 232056"/>
                <a:gd name="connsiteX2" fmla="*/ 363474 w 384333"/>
                <a:gd name="connsiteY2" fmla="*/ 192500 h 232056"/>
                <a:gd name="connsiteX3" fmla="*/ 364712 w 384333"/>
                <a:gd name="connsiteY3" fmla="*/ 192500 h 232056"/>
                <a:gd name="connsiteX4" fmla="*/ 384334 w 384333"/>
                <a:gd name="connsiteY4" fmla="*/ 212122 h 232056"/>
                <a:gd name="connsiteX5" fmla="*/ 364712 w 384333"/>
                <a:gd name="connsiteY5" fmla="*/ 231743 h 232056"/>
                <a:gd name="connsiteX6" fmla="*/ 363474 w 384333"/>
                <a:gd name="connsiteY6" fmla="*/ 231743 h 232056"/>
                <a:gd name="connsiteX7" fmla="*/ 363474 w 384333"/>
                <a:gd name="connsiteY7" fmla="*/ 231839 h 232056"/>
                <a:gd name="connsiteX8" fmla="*/ 76486 w 384333"/>
                <a:gd name="connsiteY8" fmla="*/ 231839 h 232056"/>
                <a:gd name="connsiteX9" fmla="*/ 76486 w 384333"/>
                <a:gd name="connsiteY9" fmla="*/ 231934 h 232056"/>
                <a:gd name="connsiteX10" fmla="*/ 24003 w 384333"/>
                <a:gd name="connsiteY10" fmla="*/ 212884 h 232056"/>
                <a:gd name="connsiteX11" fmla="*/ 95 w 384333"/>
                <a:gd name="connsiteY11" fmla="*/ 159068 h 232056"/>
                <a:gd name="connsiteX12" fmla="*/ 95 w 384333"/>
                <a:gd name="connsiteY12" fmla="*/ 159068 h 232056"/>
                <a:gd name="connsiteX13" fmla="*/ 95 w 384333"/>
                <a:gd name="connsiteY13" fmla="*/ 74771 h 232056"/>
                <a:gd name="connsiteX14" fmla="*/ 0 w 384333"/>
                <a:gd name="connsiteY14" fmla="*/ 74771 h 232056"/>
                <a:gd name="connsiteX15" fmla="*/ 21431 w 384333"/>
                <a:gd name="connsiteY15" fmla="*/ 20860 h 232056"/>
                <a:gd name="connsiteX16" fmla="*/ 72390 w 384333"/>
                <a:gd name="connsiteY16" fmla="*/ 286 h 232056"/>
                <a:gd name="connsiteX17" fmla="*/ 72390 w 384333"/>
                <a:gd name="connsiteY17" fmla="*/ 0 h 232056"/>
                <a:gd name="connsiteX18" fmla="*/ 300704 w 384333"/>
                <a:gd name="connsiteY18" fmla="*/ 0 h 232056"/>
                <a:gd name="connsiteX19" fmla="*/ 300704 w 384333"/>
                <a:gd name="connsiteY19" fmla="*/ 286 h 232056"/>
                <a:gd name="connsiteX20" fmla="*/ 303562 w 384333"/>
                <a:gd name="connsiteY20" fmla="*/ 95 h 232056"/>
                <a:gd name="connsiteX21" fmla="*/ 323183 w 384333"/>
                <a:gd name="connsiteY21" fmla="*/ 19717 h 232056"/>
                <a:gd name="connsiteX22" fmla="*/ 303562 w 384333"/>
                <a:gd name="connsiteY22" fmla="*/ 39338 h 232056"/>
                <a:gd name="connsiteX23" fmla="*/ 300704 w 384333"/>
                <a:gd name="connsiteY23" fmla="*/ 39148 h 232056"/>
                <a:gd name="connsiteX24" fmla="*/ 300704 w 384333"/>
                <a:gd name="connsiteY24" fmla="*/ 39433 h 232056"/>
                <a:gd name="connsiteX25" fmla="*/ 72390 w 384333"/>
                <a:gd name="connsiteY25" fmla="*/ 39433 h 232056"/>
                <a:gd name="connsiteX26" fmla="*/ 72390 w 384333"/>
                <a:gd name="connsiteY26" fmla="*/ 39433 h 232056"/>
                <a:gd name="connsiteX27" fmla="*/ 50006 w 384333"/>
                <a:gd name="connsiteY27" fmla="*/ 49149 h 232056"/>
                <a:gd name="connsiteX28" fmla="*/ 39719 w 384333"/>
                <a:gd name="connsiteY28" fmla="*/ 75343 h 232056"/>
                <a:gd name="connsiteX29" fmla="*/ 39434 w 384333"/>
                <a:gd name="connsiteY29" fmla="*/ 75343 h 232056"/>
                <a:gd name="connsiteX30" fmla="*/ 39434 w 384333"/>
                <a:gd name="connsiteY30" fmla="*/ 155067 h 232056"/>
                <a:gd name="connsiteX31" fmla="*/ 39719 w 384333"/>
                <a:gd name="connsiteY31" fmla="*/ 155067 h 232056"/>
                <a:gd name="connsiteX32" fmla="*/ 48006 w 384333"/>
                <a:gd name="connsiteY32" fmla="*/ 181546 h 232056"/>
                <a:gd name="connsiteX33" fmla="*/ 73914 w 384333"/>
                <a:gd name="connsiteY33" fmla="*/ 192691 h 232056"/>
                <a:gd name="connsiteX34" fmla="*/ 73914 w 384333"/>
                <a:gd name="connsiteY34" fmla="*/ 192691 h 232056"/>
                <a:gd name="connsiteX35" fmla="*/ 77343 w 384333"/>
                <a:gd name="connsiteY35" fmla="*/ 192691 h 232056"/>
                <a:gd name="connsiteX36" fmla="*/ 77914 w 384333"/>
                <a:gd name="connsiteY36" fmla="*/ 192405 h 232056"/>
                <a:gd name="connsiteX37" fmla="*/ 77914 w 384333"/>
                <a:gd name="connsiteY37" fmla="*/ 192405 h 232056"/>
                <a:gd name="connsiteX38" fmla="*/ 77914 w 384333"/>
                <a:gd name="connsiteY38" fmla="*/ 192405 h 23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84333" h="232056">
                  <a:moveTo>
                    <a:pt x="77914" y="192405"/>
                  </a:moveTo>
                  <a:lnTo>
                    <a:pt x="363474" y="192405"/>
                  </a:lnTo>
                  <a:lnTo>
                    <a:pt x="363474" y="192500"/>
                  </a:lnTo>
                  <a:cubicBezTo>
                    <a:pt x="363855" y="192500"/>
                    <a:pt x="364331" y="192500"/>
                    <a:pt x="364712" y="192500"/>
                  </a:cubicBezTo>
                  <a:cubicBezTo>
                    <a:pt x="375571" y="192500"/>
                    <a:pt x="384334" y="201263"/>
                    <a:pt x="384334" y="212122"/>
                  </a:cubicBezTo>
                  <a:cubicBezTo>
                    <a:pt x="384334" y="222980"/>
                    <a:pt x="375571" y="231743"/>
                    <a:pt x="364712" y="231743"/>
                  </a:cubicBezTo>
                  <a:cubicBezTo>
                    <a:pt x="364331" y="231743"/>
                    <a:pt x="363855" y="231743"/>
                    <a:pt x="363474" y="231743"/>
                  </a:cubicBezTo>
                  <a:lnTo>
                    <a:pt x="363474" y="231839"/>
                  </a:lnTo>
                  <a:lnTo>
                    <a:pt x="76486" y="231839"/>
                  </a:lnTo>
                  <a:lnTo>
                    <a:pt x="76486" y="231934"/>
                  </a:lnTo>
                  <a:cubicBezTo>
                    <a:pt x="76486" y="231934"/>
                    <a:pt x="46577" y="234791"/>
                    <a:pt x="24003" y="212884"/>
                  </a:cubicBezTo>
                  <a:cubicBezTo>
                    <a:pt x="2286" y="191833"/>
                    <a:pt x="190" y="167164"/>
                    <a:pt x="95" y="159068"/>
                  </a:cubicBezTo>
                  <a:lnTo>
                    <a:pt x="95" y="159068"/>
                  </a:lnTo>
                  <a:lnTo>
                    <a:pt x="95" y="74771"/>
                  </a:lnTo>
                  <a:lnTo>
                    <a:pt x="0" y="74771"/>
                  </a:lnTo>
                  <a:cubicBezTo>
                    <a:pt x="0" y="74771"/>
                    <a:pt x="-95" y="42767"/>
                    <a:pt x="21431" y="20860"/>
                  </a:cubicBezTo>
                  <a:cubicBezTo>
                    <a:pt x="40957" y="952"/>
                    <a:pt x="67723" y="286"/>
                    <a:pt x="72390" y="286"/>
                  </a:cubicBezTo>
                  <a:lnTo>
                    <a:pt x="72390" y="0"/>
                  </a:lnTo>
                  <a:lnTo>
                    <a:pt x="300704" y="0"/>
                  </a:lnTo>
                  <a:lnTo>
                    <a:pt x="300704" y="286"/>
                  </a:lnTo>
                  <a:cubicBezTo>
                    <a:pt x="301657" y="190"/>
                    <a:pt x="302609" y="95"/>
                    <a:pt x="303562" y="95"/>
                  </a:cubicBezTo>
                  <a:cubicBezTo>
                    <a:pt x="314420" y="95"/>
                    <a:pt x="323183" y="8858"/>
                    <a:pt x="323183" y="19717"/>
                  </a:cubicBezTo>
                  <a:cubicBezTo>
                    <a:pt x="323183" y="30575"/>
                    <a:pt x="314420" y="39338"/>
                    <a:pt x="303562" y="39338"/>
                  </a:cubicBezTo>
                  <a:cubicBezTo>
                    <a:pt x="302609" y="39338"/>
                    <a:pt x="301657" y="39243"/>
                    <a:pt x="300704" y="39148"/>
                  </a:cubicBezTo>
                  <a:lnTo>
                    <a:pt x="300704" y="39433"/>
                  </a:lnTo>
                  <a:lnTo>
                    <a:pt x="72390" y="39433"/>
                  </a:lnTo>
                  <a:lnTo>
                    <a:pt x="72390" y="39433"/>
                  </a:lnTo>
                  <a:cubicBezTo>
                    <a:pt x="69628" y="39624"/>
                    <a:pt x="58484" y="40767"/>
                    <a:pt x="50006" y="49149"/>
                  </a:cubicBezTo>
                  <a:cubicBezTo>
                    <a:pt x="39814" y="59245"/>
                    <a:pt x="39719" y="75343"/>
                    <a:pt x="39719" y="75343"/>
                  </a:cubicBezTo>
                  <a:lnTo>
                    <a:pt x="39434" y="75343"/>
                  </a:lnTo>
                  <a:lnTo>
                    <a:pt x="39434" y="155067"/>
                  </a:lnTo>
                  <a:lnTo>
                    <a:pt x="39719" y="155067"/>
                  </a:lnTo>
                  <a:cubicBezTo>
                    <a:pt x="39719" y="155067"/>
                    <a:pt x="38671" y="170021"/>
                    <a:pt x="48006" y="181546"/>
                  </a:cubicBezTo>
                  <a:cubicBezTo>
                    <a:pt x="55531" y="190881"/>
                    <a:pt x="67627" y="192500"/>
                    <a:pt x="73914" y="192691"/>
                  </a:cubicBezTo>
                  <a:lnTo>
                    <a:pt x="73914" y="192691"/>
                  </a:lnTo>
                  <a:lnTo>
                    <a:pt x="77343" y="192691"/>
                  </a:lnTo>
                  <a:cubicBezTo>
                    <a:pt x="77724" y="192405"/>
                    <a:pt x="77914" y="192405"/>
                    <a:pt x="77914" y="192405"/>
                  </a:cubicBezTo>
                  <a:lnTo>
                    <a:pt x="77914" y="192405"/>
                  </a:lnTo>
                  <a:lnTo>
                    <a:pt x="77914" y="19240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AC3D380E-7E16-06CE-FBDA-ACC78DACE5B4}"/>
                </a:ext>
              </a:extLst>
            </p:cNvPr>
            <p:cNvSpPr/>
            <p:nvPr/>
          </p:nvSpPr>
          <p:spPr>
            <a:xfrm>
              <a:off x="5542075" y="2905396"/>
              <a:ext cx="283535" cy="56793"/>
            </a:xfrm>
            <a:custGeom>
              <a:avLst/>
              <a:gdLst>
                <a:gd name="connsiteX0" fmla="*/ 281559 w 283535"/>
                <a:gd name="connsiteY0" fmla="*/ 40196 h 56793"/>
                <a:gd name="connsiteX1" fmla="*/ 249079 w 283535"/>
                <a:gd name="connsiteY1" fmla="*/ 10001 h 56793"/>
                <a:gd name="connsiteX2" fmla="*/ 239173 w 283535"/>
                <a:gd name="connsiteY2" fmla="*/ 3048 h 56793"/>
                <a:gd name="connsiteX3" fmla="*/ 224790 w 283535"/>
                <a:gd name="connsiteY3" fmla="*/ 0 h 56793"/>
                <a:gd name="connsiteX4" fmla="*/ 0 w 283535"/>
                <a:gd name="connsiteY4" fmla="*/ 286 h 56793"/>
                <a:gd name="connsiteX5" fmla="*/ 95 w 283535"/>
                <a:gd name="connsiteY5" fmla="*/ 17145 h 56793"/>
                <a:gd name="connsiteX6" fmla="*/ 224409 w 283535"/>
                <a:gd name="connsiteY6" fmla="*/ 17717 h 56793"/>
                <a:gd name="connsiteX7" fmla="*/ 230886 w 283535"/>
                <a:gd name="connsiteY7" fmla="*/ 18955 h 56793"/>
                <a:gd name="connsiteX8" fmla="*/ 237172 w 283535"/>
                <a:gd name="connsiteY8" fmla="*/ 23050 h 56793"/>
                <a:gd name="connsiteX9" fmla="*/ 266700 w 283535"/>
                <a:gd name="connsiteY9" fmla="*/ 53816 h 56793"/>
                <a:gd name="connsiteX10" fmla="*/ 280035 w 283535"/>
                <a:gd name="connsiteY10" fmla="*/ 53721 h 56793"/>
                <a:gd name="connsiteX11" fmla="*/ 281559 w 283535"/>
                <a:gd name="connsiteY11" fmla="*/ 40196 h 56793"/>
                <a:gd name="connsiteX12" fmla="*/ 281559 w 283535"/>
                <a:gd name="connsiteY12" fmla="*/ 40196 h 56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535" h="56793">
                  <a:moveTo>
                    <a:pt x="281559" y="40196"/>
                  </a:moveTo>
                  <a:lnTo>
                    <a:pt x="249079" y="10001"/>
                  </a:lnTo>
                  <a:cubicBezTo>
                    <a:pt x="249079" y="10001"/>
                    <a:pt x="245174" y="5144"/>
                    <a:pt x="239173" y="3048"/>
                  </a:cubicBezTo>
                  <a:cubicBezTo>
                    <a:pt x="233172" y="953"/>
                    <a:pt x="224790" y="0"/>
                    <a:pt x="224790" y="0"/>
                  </a:cubicBezTo>
                  <a:lnTo>
                    <a:pt x="0" y="286"/>
                  </a:lnTo>
                  <a:lnTo>
                    <a:pt x="95" y="17145"/>
                  </a:lnTo>
                  <a:lnTo>
                    <a:pt x="224409" y="17717"/>
                  </a:lnTo>
                  <a:cubicBezTo>
                    <a:pt x="224409" y="17717"/>
                    <a:pt x="226981" y="17050"/>
                    <a:pt x="230886" y="18955"/>
                  </a:cubicBezTo>
                  <a:cubicBezTo>
                    <a:pt x="234791" y="20955"/>
                    <a:pt x="237172" y="23050"/>
                    <a:pt x="237172" y="23050"/>
                  </a:cubicBezTo>
                  <a:lnTo>
                    <a:pt x="266700" y="53816"/>
                  </a:lnTo>
                  <a:cubicBezTo>
                    <a:pt x="266700" y="53816"/>
                    <a:pt x="272891" y="60579"/>
                    <a:pt x="280035" y="53721"/>
                  </a:cubicBezTo>
                  <a:cubicBezTo>
                    <a:pt x="286893" y="47149"/>
                    <a:pt x="281559" y="40196"/>
                    <a:pt x="281559" y="40196"/>
                  </a:cubicBezTo>
                  <a:lnTo>
                    <a:pt x="281559" y="4019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87468DD3-0C0C-975B-6D41-96D465DAC018}"/>
                </a:ext>
              </a:extLst>
            </p:cNvPr>
            <p:cNvSpPr/>
            <p:nvPr/>
          </p:nvSpPr>
          <p:spPr>
            <a:xfrm>
              <a:off x="5786487" y="2922253"/>
              <a:ext cx="9143" cy="9337"/>
            </a:xfrm>
            <a:custGeom>
              <a:avLst/>
              <a:gdLst>
                <a:gd name="connsiteX0" fmla="*/ 9144 w 9143"/>
                <a:gd name="connsiteY0" fmla="*/ 4670 h 9337"/>
                <a:gd name="connsiteX1" fmla="*/ 4572 w 9143"/>
                <a:gd name="connsiteY1" fmla="*/ 9338 h 9337"/>
                <a:gd name="connsiteX2" fmla="*/ 0 w 9143"/>
                <a:gd name="connsiteY2" fmla="*/ 4670 h 9337"/>
                <a:gd name="connsiteX3" fmla="*/ 4572 w 9143"/>
                <a:gd name="connsiteY3" fmla="*/ 3 h 9337"/>
                <a:gd name="connsiteX4" fmla="*/ 9144 w 9143"/>
                <a:gd name="connsiteY4" fmla="*/ 4670 h 9337"/>
                <a:gd name="connsiteX5" fmla="*/ 9144 w 9143"/>
                <a:gd name="connsiteY5" fmla="*/ 4670 h 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" h="9337">
                  <a:moveTo>
                    <a:pt x="9144" y="4670"/>
                  </a:moveTo>
                  <a:cubicBezTo>
                    <a:pt x="9144" y="7242"/>
                    <a:pt x="7048" y="9338"/>
                    <a:pt x="4572" y="9338"/>
                  </a:cubicBezTo>
                  <a:cubicBezTo>
                    <a:pt x="2000" y="9338"/>
                    <a:pt x="0" y="7242"/>
                    <a:pt x="0" y="4670"/>
                  </a:cubicBezTo>
                  <a:cubicBezTo>
                    <a:pt x="0" y="2099"/>
                    <a:pt x="2096" y="3"/>
                    <a:pt x="4572" y="3"/>
                  </a:cubicBezTo>
                  <a:cubicBezTo>
                    <a:pt x="7144" y="-92"/>
                    <a:pt x="9144" y="2003"/>
                    <a:pt x="9144" y="4670"/>
                  </a:cubicBezTo>
                  <a:lnTo>
                    <a:pt x="9144" y="467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8073B647-8625-ED71-3E0F-36DC4D6A11DB}"/>
                </a:ext>
              </a:extLst>
            </p:cNvPr>
            <p:cNvSpPr/>
            <p:nvPr/>
          </p:nvSpPr>
          <p:spPr>
            <a:xfrm>
              <a:off x="5787344" y="2923111"/>
              <a:ext cx="7620" cy="73535"/>
            </a:xfrm>
            <a:custGeom>
              <a:avLst/>
              <a:gdLst>
                <a:gd name="connsiteX0" fmla="*/ 7429 w 7620"/>
                <a:gd name="connsiteY0" fmla="*/ 2574 h 73535"/>
                <a:gd name="connsiteX1" fmla="*/ 3524 w 7620"/>
                <a:gd name="connsiteY1" fmla="*/ 2 h 73535"/>
                <a:gd name="connsiteX2" fmla="*/ 0 w 7620"/>
                <a:gd name="connsiteY2" fmla="*/ 2669 h 73535"/>
                <a:gd name="connsiteX3" fmla="*/ 0 w 7620"/>
                <a:gd name="connsiteY3" fmla="*/ 72964 h 73535"/>
                <a:gd name="connsiteX4" fmla="*/ 7620 w 7620"/>
                <a:gd name="connsiteY4" fmla="*/ 73536 h 73535"/>
                <a:gd name="connsiteX5" fmla="*/ 7429 w 7620"/>
                <a:gd name="connsiteY5" fmla="*/ 2574 h 73535"/>
                <a:gd name="connsiteX6" fmla="*/ 7429 w 7620"/>
                <a:gd name="connsiteY6" fmla="*/ 2574 h 7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" h="73535">
                  <a:moveTo>
                    <a:pt x="7429" y="2574"/>
                  </a:moveTo>
                  <a:cubicBezTo>
                    <a:pt x="7429" y="2574"/>
                    <a:pt x="6096" y="-93"/>
                    <a:pt x="3524" y="2"/>
                  </a:cubicBezTo>
                  <a:cubicBezTo>
                    <a:pt x="857" y="98"/>
                    <a:pt x="0" y="2669"/>
                    <a:pt x="0" y="2669"/>
                  </a:cubicBezTo>
                  <a:lnTo>
                    <a:pt x="0" y="72964"/>
                  </a:lnTo>
                  <a:lnTo>
                    <a:pt x="7620" y="73536"/>
                  </a:lnTo>
                  <a:lnTo>
                    <a:pt x="7429" y="2574"/>
                  </a:lnTo>
                  <a:lnTo>
                    <a:pt x="7429" y="257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B9345352-E23E-5D03-CE1D-BF5038FE32A7}"/>
                </a:ext>
              </a:extLst>
            </p:cNvPr>
            <p:cNvSpPr/>
            <p:nvPr/>
          </p:nvSpPr>
          <p:spPr>
            <a:xfrm>
              <a:off x="5411487" y="2969119"/>
              <a:ext cx="70675" cy="124396"/>
            </a:xfrm>
            <a:custGeom>
              <a:avLst/>
              <a:gdLst>
                <a:gd name="connsiteX0" fmla="*/ 53245 w 70675"/>
                <a:gd name="connsiteY0" fmla="*/ 27432 h 124396"/>
                <a:gd name="connsiteX1" fmla="*/ 53245 w 70675"/>
                <a:gd name="connsiteY1" fmla="*/ 0 h 124396"/>
                <a:gd name="connsiteX2" fmla="*/ 70675 w 70675"/>
                <a:gd name="connsiteY2" fmla="*/ 0 h 124396"/>
                <a:gd name="connsiteX3" fmla="*/ 70675 w 70675"/>
                <a:gd name="connsiteY3" fmla="*/ 124396 h 124396"/>
                <a:gd name="connsiteX4" fmla="*/ 53245 w 70675"/>
                <a:gd name="connsiteY4" fmla="*/ 124396 h 124396"/>
                <a:gd name="connsiteX5" fmla="*/ 53245 w 70675"/>
                <a:gd name="connsiteY5" fmla="*/ 45053 h 124396"/>
                <a:gd name="connsiteX6" fmla="*/ 35814 w 70675"/>
                <a:gd name="connsiteY6" fmla="*/ 44958 h 124396"/>
                <a:gd name="connsiteX7" fmla="*/ 23527 w 70675"/>
                <a:gd name="connsiteY7" fmla="*/ 49911 h 124396"/>
                <a:gd name="connsiteX8" fmla="*/ 17717 w 70675"/>
                <a:gd name="connsiteY8" fmla="*/ 62103 h 124396"/>
                <a:gd name="connsiteX9" fmla="*/ 17907 w 70675"/>
                <a:gd name="connsiteY9" fmla="*/ 120205 h 124396"/>
                <a:gd name="connsiteX10" fmla="*/ 381 w 70675"/>
                <a:gd name="connsiteY10" fmla="*/ 123254 h 124396"/>
                <a:gd name="connsiteX11" fmla="*/ 0 w 70675"/>
                <a:gd name="connsiteY11" fmla="*/ 62484 h 124396"/>
                <a:gd name="connsiteX12" fmla="*/ 11716 w 70675"/>
                <a:gd name="connsiteY12" fmla="*/ 35528 h 124396"/>
                <a:gd name="connsiteX13" fmla="*/ 35528 w 70675"/>
                <a:gd name="connsiteY13" fmla="*/ 27051 h 124396"/>
                <a:gd name="connsiteX14" fmla="*/ 53245 w 70675"/>
                <a:gd name="connsiteY14" fmla="*/ 27432 h 124396"/>
                <a:gd name="connsiteX15" fmla="*/ 53245 w 70675"/>
                <a:gd name="connsiteY15" fmla="*/ 27432 h 12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75" h="124396">
                  <a:moveTo>
                    <a:pt x="53245" y="27432"/>
                  </a:moveTo>
                  <a:lnTo>
                    <a:pt x="53245" y="0"/>
                  </a:lnTo>
                  <a:lnTo>
                    <a:pt x="70675" y="0"/>
                  </a:lnTo>
                  <a:lnTo>
                    <a:pt x="70675" y="124396"/>
                  </a:lnTo>
                  <a:lnTo>
                    <a:pt x="53245" y="124396"/>
                  </a:lnTo>
                  <a:lnTo>
                    <a:pt x="53245" y="45053"/>
                  </a:lnTo>
                  <a:lnTo>
                    <a:pt x="35814" y="44958"/>
                  </a:lnTo>
                  <a:cubicBezTo>
                    <a:pt x="35814" y="44958"/>
                    <a:pt x="28575" y="44482"/>
                    <a:pt x="23527" y="49911"/>
                  </a:cubicBezTo>
                  <a:cubicBezTo>
                    <a:pt x="18288" y="55531"/>
                    <a:pt x="17717" y="62103"/>
                    <a:pt x="17717" y="62103"/>
                  </a:cubicBezTo>
                  <a:lnTo>
                    <a:pt x="17907" y="120205"/>
                  </a:lnTo>
                  <a:lnTo>
                    <a:pt x="381" y="123254"/>
                  </a:lnTo>
                  <a:lnTo>
                    <a:pt x="0" y="62484"/>
                  </a:lnTo>
                  <a:cubicBezTo>
                    <a:pt x="0" y="62484"/>
                    <a:pt x="476" y="45529"/>
                    <a:pt x="11716" y="35528"/>
                  </a:cubicBezTo>
                  <a:cubicBezTo>
                    <a:pt x="22574" y="25813"/>
                    <a:pt x="35528" y="27051"/>
                    <a:pt x="35528" y="27051"/>
                  </a:cubicBezTo>
                  <a:lnTo>
                    <a:pt x="53245" y="27432"/>
                  </a:lnTo>
                  <a:lnTo>
                    <a:pt x="53245" y="27432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2D3B1197-4E10-1AF5-C8E7-CFC27F79ACFA}"/>
                </a:ext>
              </a:extLst>
            </p:cNvPr>
            <p:cNvSpPr/>
            <p:nvPr/>
          </p:nvSpPr>
          <p:spPr>
            <a:xfrm>
              <a:off x="5503118" y="3003695"/>
              <a:ext cx="16478" cy="53911"/>
            </a:xfrm>
            <a:custGeom>
              <a:avLst/>
              <a:gdLst>
                <a:gd name="connsiteX0" fmla="*/ 16288 w 16478"/>
                <a:gd name="connsiteY0" fmla="*/ 0 h 53911"/>
                <a:gd name="connsiteX1" fmla="*/ 6953 w 16478"/>
                <a:gd name="connsiteY1" fmla="*/ 190 h 53911"/>
                <a:gd name="connsiteX2" fmla="*/ 2096 w 16478"/>
                <a:gd name="connsiteY2" fmla="*/ 1714 h 53911"/>
                <a:gd name="connsiteX3" fmla="*/ 190 w 16478"/>
                <a:gd name="connsiteY3" fmla="*/ 7048 h 53911"/>
                <a:gd name="connsiteX4" fmla="*/ 0 w 16478"/>
                <a:gd name="connsiteY4" fmla="*/ 53911 h 53911"/>
                <a:gd name="connsiteX5" fmla="*/ 4381 w 16478"/>
                <a:gd name="connsiteY5" fmla="*/ 53626 h 53911"/>
                <a:gd name="connsiteX6" fmla="*/ 4572 w 16478"/>
                <a:gd name="connsiteY6" fmla="*/ 7048 h 53911"/>
                <a:gd name="connsiteX7" fmla="*/ 5143 w 16478"/>
                <a:gd name="connsiteY7" fmla="*/ 4953 h 53911"/>
                <a:gd name="connsiteX8" fmla="*/ 7239 w 16478"/>
                <a:gd name="connsiteY8" fmla="*/ 4381 h 53911"/>
                <a:gd name="connsiteX9" fmla="*/ 16478 w 16478"/>
                <a:gd name="connsiteY9" fmla="*/ 4572 h 53911"/>
                <a:gd name="connsiteX10" fmla="*/ 16288 w 16478"/>
                <a:gd name="connsiteY10" fmla="*/ 0 h 53911"/>
                <a:gd name="connsiteX11" fmla="*/ 16288 w 16478"/>
                <a:gd name="connsiteY11" fmla="*/ 0 h 5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78" h="53911">
                  <a:moveTo>
                    <a:pt x="16288" y="0"/>
                  </a:moveTo>
                  <a:lnTo>
                    <a:pt x="6953" y="190"/>
                  </a:lnTo>
                  <a:cubicBezTo>
                    <a:pt x="6953" y="190"/>
                    <a:pt x="4191" y="-286"/>
                    <a:pt x="2096" y="1714"/>
                  </a:cubicBezTo>
                  <a:cubicBezTo>
                    <a:pt x="-95" y="3810"/>
                    <a:pt x="190" y="7048"/>
                    <a:pt x="190" y="7048"/>
                  </a:cubicBezTo>
                  <a:lnTo>
                    <a:pt x="0" y="53911"/>
                  </a:lnTo>
                  <a:lnTo>
                    <a:pt x="4381" y="53626"/>
                  </a:lnTo>
                  <a:lnTo>
                    <a:pt x="4572" y="7048"/>
                  </a:lnTo>
                  <a:cubicBezTo>
                    <a:pt x="4572" y="7048"/>
                    <a:pt x="4286" y="5715"/>
                    <a:pt x="5143" y="4953"/>
                  </a:cubicBezTo>
                  <a:cubicBezTo>
                    <a:pt x="5810" y="4286"/>
                    <a:pt x="7239" y="4381"/>
                    <a:pt x="7239" y="4381"/>
                  </a:cubicBezTo>
                  <a:lnTo>
                    <a:pt x="16478" y="4572"/>
                  </a:lnTo>
                  <a:lnTo>
                    <a:pt x="16288" y="0"/>
                  </a:lnTo>
                  <a:lnTo>
                    <a:pt x="16288" y="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A11DAB60-3429-D5A9-524C-3E0E391BFBE5}"/>
                </a:ext>
              </a:extLst>
            </p:cNvPr>
            <p:cNvSpPr/>
            <p:nvPr/>
          </p:nvSpPr>
          <p:spPr>
            <a:xfrm>
              <a:off x="5525883" y="3050457"/>
              <a:ext cx="376237" cy="46678"/>
            </a:xfrm>
            <a:custGeom>
              <a:avLst/>
              <a:gdLst>
                <a:gd name="connsiteX0" fmla="*/ 10763 w 376237"/>
                <a:gd name="connsiteY0" fmla="*/ 33915 h 46678"/>
                <a:gd name="connsiteX1" fmla="*/ 359664 w 376237"/>
                <a:gd name="connsiteY1" fmla="*/ 33819 h 46678"/>
                <a:gd name="connsiteX2" fmla="*/ 365093 w 376237"/>
                <a:gd name="connsiteY2" fmla="*/ 31819 h 46678"/>
                <a:gd name="connsiteX3" fmla="*/ 368617 w 376237"/>
                <a:gd name="connsiteY3" fmla="*/ 25723 h 46678"/>
                <a:gd name="connsiteX4" fmla="*/ 376238 w 376237"/>
                <a:gd name="connsiteY4" fmla="*/ 30200 h 46678"/>
                <a:gd name="connsiteX5" fmla="*/ 370237 w 376237"/>
                <a:gd name="connsiteY5" fmla="*/ 40296 h 46678"/>
                <a:gd name="connsiteX6" fmla="*/ 359569 w 376237"/>
                <a:gd name="connsiteY6" fmla="*/ 43630 h 46678"/>
                <a:gd name="connsiteX7" fmla="*/ 10382 w 376237"/>
                <a:gd name="connsiteY7" fmla="*/ 43440 h 46678"/>
                <a:gd name="connsiteX8" fmla="*/ 10287 w 376237"/>
                <a:gd name="connsiteY8" fmla="*/ 46678 h 46678"/>
                <a:gd name="connsiteX9" fmla="*/ 381 w 376237"/>
                <a:gd name="connsiteY9" fmla="*/ 45916 h 46678"/>
                <a:gd name="connsiteX10" fmla="*/ 0 w 376237"/>
                <a:gd name="connsiteY10" fmla="*/ 5149 h 46678"/>
                <a:gd name="connsiteX11" fmla="*/ 5239 w 376237"/>
                <a:gd name="connsiteY11" fmla="*/ 5 h 46678"/>
                <a:gd name="connsiteX12" fmla="*/ 10573 w 376237"/>
                <a:gd name="connsiteY12" fmla="*/ 4673 h 46678"/>
                <a:gd name="connsiteX13" fmla="*/ 10763 w 376237"/>
                <a:gd name="connsiteY13" fmla="*/ 33915 h 46678"/>
                <a:gd name="connsiteX14" fmla="*/ 10763 w 376237"/>
                <a:gd name="connsiteY14" fmla="*/ 33915 h 46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6237" h="46678">
                  <a:moveTo>
                    <a:pt x="10763" y="33915"/>
                  </a:moveTo>
                  <a:lnTo>
                    <a:pt x="359664" y="33819"/>
                  </a:lnTo>
                  <a:cubicBezTo>
                    <a:pt x="359664" y="33819"/>
                    <a:pt x="363760" y="33915"/>
                    <a:pt x="365093" y="31819"/>
                  </a:cubicBezTo>
                  <a:cubicBezTo>
                    <a:pt x="366427" y="29724"/>
                    <a:pt x="368617" y="25723"/>
                    <a:pt x="368617" y="25723"/>
                  </a:cubicBezTo>
                  <a:lnTo>
                    <a:pt x="376238" y="30200"/>
                  </a:lnTo>
                  <a:cubicBezTo>
                    <a:pt x="376238" y="30200"/>
                    <a:pt x="375571" y="36391"/>
                    <a:pt x="370237" y="40296"/>
                  </a:cubicBezTo>
                  <a:cubicBezTo>
                    <a:pt x="364903" y="44201"/>
                    <a:pt x="359569" y="43630"/>
                    <a:pt x="359569" y="43630"/>
                  </a:cubicBezTo>
                  <a:lnTo>
                    <a:pt x="10382" y="43440"/>
                  </a:lnTo>
                  <a:lnTo>
                    <a:pt x="10287" y="46678"/>
                  </a:lnTo>
                  <a:lnTo>
                    <a:pt x="381" y="45916"/>
                  </a:lnTo>
                  <a:lnTo>
                    <a:pt x="0" y="5149"/>
                  </a:lnTo>
                  <a:cubicBezTo>
                    <a:pt x="0" y="5149"/>
                    <a:pt x="476" y="196"/>
                    <a:pt x="5239" y="5"/>
                  </a:cubicBezTo>
                  <a:cubicBezTo>
                    <a:pt x="10001" y="-185"/>
                    <a:pt x="10573" y="4673"/>
                    <a:pt x="10573" y="4673"/>
                  </a:cubicBezTo>
                  <a:lnTo>
                    <a:pt x="10763" y="33915"/>
                  </a:lnTo>
                  <a:lnTo>
                    <a:pt x="10763" y="3391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4A027C32-CB25-9CC4-611D-F5B1B7988CFF}"/>
                </a:ext>
              </a:extLst>
            </p:cNvPr>
            <p:cNvSpPr/>
            <p:nvPr/>
          </p:nvSpPr>
          <p:spPr>
            <a:xfrm>
              <a:off x="5501880" y="3052939"/>
              <a:ext cx="9429" cy="43433"/>
            </a:xfrm>
            <a:custGeom>
              <a:avLst/>
              <a:gdLst>
                <a:gd name="connsiteX0" fmla="*/ 9430 w 9429"/>
                <a:gd name="connsiteY0" fmla="*/ 43434 h 43433"/>
                <a:gd name="connsiteX1" fmla="*/ 9430 w 9429"/>
                <a:gd name="connsiteY1" fmla="*/ 0 h 43433"/>
                <a:gd name="connsiteX2" fmla="*/ 0 w 9429"/>
                <a:gd name="connsiteY2" fmla="*/ 0 h 43433"/>
                <a:gd name="connsiteX3" fmla="*/ 0 w 9429"/>
                <a:gd name="connsiteY3" fmla="*/ 43434 h 43433"/>
                <a:gd name="connsiteX4" fmla="*/ 9430 w 9429"/>
                <a:gd name="connsiteY4" fmla="*/ 43434 h 4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29" h="43433">
                  <a:moveTo>
                    <a:pt x="9430" y="43434"/>
                  </a:moveTo>
                  <a:lnTo>
                    <a:pt x="9430" y="0"/>
                  </a:lnTo>
                  <a:lnTo>
                    <a:pt x="0" y="0"/>
                  </a:lnTo>
                  <a:lnTo>
                    <a:pt x="0" y="43434"/>
                  </a:lnTo>
                  <a:lnTo>
                    <a:pt x="9430" y="4343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83E08978-FE87-BF38-AD5B-EFBF7458B9F3}"/>
                </a:ext>
              </a:extLst>
            </p:cNvPr>
            <p:cNvSpPr/>
            <p:nvPr/>
          </p:nvSpPr>
          <p:spPr>
            <a:xfrm>
              <a:off x="5500355" y="3089515"/>
              <a:ext cx="12001" cy="1904"/>
            </a:xfrm>
            <a:custGeom>
              <a:avLst/>
              <a:gdLst>
                <a:gd name="connsiteX0" fmla="*/ 12002 w 12001"/>
                <a:gd name="connsiteY0" fmla="*/ 1905 h 1904"/>
                <a:gd name="connsiteX1" fmla="*/ 12002 w 12001"/>
                <a:gd name="connsiteY1" fmla="*/ 0 h 1904"/>
                <a:gd name="connsiteX2" fmla="*/ 0 w 12001"/>
                <a:gd name="connsiteY2" fmla="*/ 0 h 1904"/>
                <a:gd name="connsiteX3" fmla="*/ 0 w 12001"/>
                <a:gd name="connsiteY3" fmla="*/ 1905 h 1904"/>
                <a:gd name="connsiteX4" fmla="*/ 12002 w 12001"/>
                <a:gd name="connsiteY4" fmla="*/ 1905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1" h="1904">
                  <a:moveTo>
                    <a:pt x="12002" y="1905"/>
                  </a:moveTo>
                  <a:lnTo>
                    <a:pt x="12002" y="0"/>
                  </a:lnTo>
                  <a:lnTo>
                    <a:pt x="0" y="0"/>
                  </a:lnTo>
                  <a:lnTo>
                    <a:pt x="0" y="1905"/>
                  </a:lnTo>
                  <a:lnTo>
                    <a:pt x="12002" y="190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DEAC77DB-C591-A69F-7F4D-3A68A040ECE1}"/>
                </a:ext>
              </a:extLst>
            </p:cNvPr>
            <p:cNvSpPr/>
            <p:nvPr/>
          </p:nvSpPr>
          <p:spPr>
            <a:xfrm>
              <a:off x="5461684" y="3045605"/>
              <a:ext cx="23145" cy="2286"/>
            </a:xfrm>
            <a:custGeom>
              <a:avLst/>
              <a:gdLst>
                <a:gd name="connsiteX0" fmla="*/ 23146 w 23145"/>
                <a:gd name="connsiteY0" fmla="*/ 2286 h 2286"/>
                <a:gd name="connsiteX1" fmla="*/ 23146 w 23145"/>
                <a:gd name="connsiteY1" fmla="*/ 0 h 2286"/>
                <a:gd name="connsiteX2" fmla="*/ 0 w 23145"/>
                <a:gd name="connsiteY2" fmla="*/ 0 h 2286"/>
                <a:gd name="connsiteX3" fmla="*/ 0 w 23145"/>
                <a:gd name="connsiteY3" fmla="*/ 2286 h 2286"/>
                <a:gd name="connsiteX4" fmla="*/ 23146 w 23145"/>
                <a:gd name="connsiteY4" fmla="*/ 2286 h 2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45" h="2286">
                  <a:moveTo>
                    <a:pt x="23146" y="2286"/>
                  </a:moveTo>
                  <a:lnTo>
                    <a:pt x="23146" y="0"/>
                  </a:lnTo>
                  <a:lnTo>
                    <a:pt x="0" y="0"/>
                  </a:lnTo>
                  <a:lnTo>
                    <a:pt x="0" y="2286"/>
                  </a:lnTo>
                  <a:lnTo>
                    <a:pt x="23146" y="228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8EFB0E5B-9455-D259-A11D-23CCD643B11E}"/>
                </a:ext>
              </a:extLst>
            </p:cNvPr>
            <p:cNvSpPr/>
            <p:nvPr/>
          </p:nvSpPr>
          <p:spPr>
            <a:xfrm>
              <a:off x="5413868" y="3045414"/>
              <a:ext cx="18097" cy="2095"/>
            </a:xfrm>
            <a:custGeom>
              <a:avLst/>
              <a:gdLst>
                <a:gd name="connsiteX0" fmla="*/ 18098 w 18097"/>
                <a:gd name="connsiteY0" fmla="*/ 2096 h 2095"/>
                <a:gd name="connsiteX1" fmla="*/ 18098 w 18097"/>
                <a:gd name="connsiteY1" fmla="*/ 0 h 2095"/>
                <a:gd name="connsiteX2" fmla="*/ 0 w 18097"/>
                <a:gd name="connsiteY2" fmla="*/ 0 h 2095"/>
                <a:gd name="connsiteX3" fmla="*/ 0 w 18097"/>
                <a:gd name="connsiteY3" fmla="*/ 2096 h 2095"/>
                <a:gd name="connsiteX4" fmla="*/ 18098 w 18097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97" h="2095">
                  <a:moveTo>
                    <a:pt x="18098" y="2096"/>
                  </a:moveTo>
                  <a:lnTo>
                    <a:pt x="18098" y="0"/>
                  </a:lnTo>
                  <a:lnTo>
                    <a:pt x="0" y="0"/>
                  </a:lnTo>
                  <a:lnTo>
                    <a:pt x="0" y="2096"/>
                  </a:lnTo>
                  <a:lnTo>
                    <a:pt x="18098" y="209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3C6B1B1B-E72E-C78D-9346-273544842050}"/>
                </a:ext>
              </a:extLst>
            </p:cNvPr>
            <p:cNvSpPr/>
            <p:nvPr/>
          </p:nvSpPr>
          <p:spPr>
            <a:xfrm>
              <a:off x="5747053" y="2990836"/>
              <a:ext cx="10287" cy="38100"/>
            </a:xfrm>
            <a:custGeom>
              <a:avLst/>
              <a:gdLst>
                <a:gd name="connsiteX0" fmla="*/ 10287 w 10287"/>
                <a:gd name="connsiteY0" fmla="*/ 38100 h 38100"/>
                <a:gd name="connsiteX1" fmla="*/ 10287 w 10287"/>
                <a:gd name="connsiteY1" fmla="*/ 0 h 38100"/>
                <a:gd name="connsiteX2" fmla="*/ 0 w 10287"/>
                <a:gd name="connsiteY2" fmla="*/ 0 h 38100"/>
                <a:gd name="connsiteX3" fmla="*/ 0 w 10287"/>
                <a:gd name="connsiteY3" fmla="*/ 38100 h 38100"/>
                <a:gd name="connsiteX4" fmla="*/ 10287 w 10287"/>
                <a:gd name="connsiteY4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7" h="38100">
                  <a:moveTo>
                    <a:pt x="10287" y="38100"/>
                  </a:moveTo>
                  <a:lnTo>
                    <a:pt x="10287" y="0"/>
                  </a:lnTo>
                  <a:lnTo>
                    <a:pt x="0" y="0"/>
                  </a:lnTo>
                  <a:lnTo>
                    <a:pt x="0" y="38100"/>
                  </a:lnTo>
                  <a:lnTo>
                    <a:pt x="10287" y="3810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B907C81F-D41A-F48B-B02E-F615313960BB}"/>
                </a:ext>
              </a:extLst>
            </p:cNvPr>
            <p:cNvSpPr/>
            <p:nvPr/>
          </p:nvSpPr>
          <p:spPr>
            <a:xfrm>
              <a:off x="5574174" y="2990931"/>
              <a:ext cx="13049" cy="38100"/>
            </a:xfrm>
            <a:custGeom>
              <a:avLst/>
              <a:gdLst>
                <a:gd name="connsiteX0" fmla="*/ 13049 w 13049"/>
                <a:gd name="connsiteY0" fmla="*/ 38100 h 38100"/>
                <a:gd name="connsiteX1" fmla="*/ 13049 w 13049"/>
                <a:gd name="connsiteY1" fmla="*/ 0 h 38100"/>
                <a:gd name="connsiteX2" fmla="*/ 0 w 13049"/>
                <a:gd name="connsiteY2" fmla="*/ 0 h 38100"/>
                <a:gd name="connsiteX3" fmla="*/ 0 w 13049"/>
                <a:gd name="connsiteY3" fmla="*/ 38100 h 38100"/>
                <a:gd name="connsiteX4" fmla="*/ 13049 w 13049"/>
                <a:gd name="connsiteY4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9" h="38100">
                  <a:moveTo>
                    <a:pt x="13049" y="38100"/>
                  </a:moveTo>
                  <a:lnTo>
                    <a:pt x="13049" y="0"/>
                  </a:lnTo>
                  <a:lnTo>
                    <a:pt x="0" y="0"/>
                  </a:lnTo>
                  <a:lnTo>
                    <a:pt x="0" y="38100"/>
                  </a:lnTo>
                  <a:lnTo>
                    <a:pt x="13049" y="3810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B67DB1D6-4FCA-45CB-2D75-5A9A99E47269}"/>
                </a:ext>
              </a:extLst>
            </p:cNvPr>
            <p:cNvSpPr/>
            <p:nvPr/>
          </p:nvSpPr>
          <p:spPr>
            <a:xfrm>
              <a:off x="5517310" y="2899777"/>
              <a:ext cx="40957" cy="9810"/>
            </a:xfrm>
            <a:custGeom>
              <a:avLst/>
              <a:gdLst>
                <a:gd name="connsiteX0" fmla="*/ 40958 w 40957"/>
                <a:gd name="connsiteY0" fmla="*/ 9811 h 9810"/>
                <a:gd name="connsiteX1" fmla="*/ 40958 w 40957"/>
                <a:gd name="connsiteY1" fmla="*/ 0 h 9810"/>
                <a:gd name="connsiteX2" fmla="*/ 0 w 40957"/>
                <a:gd name="connsiteY2" fmla="*/ 0 h 9810"/>
                <a:gd name="connsiteX3" fmla="*/ 0 w 40957"/>
                <a:gd name="connsiteY3" fmla="*/ 9811 h 9810"/>
                <a:gd name="connsiteX4" fmla="*/ 40958 w 40957"/>
                <a:gd name="connsiteY4" fmla="*/ 9811 h 9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" h="9810">
                  <a:moveTo>
                    <a:pt x="40958" y="9811"/>
                  </a:moveTo>
                  <a:lnTo>
                    <a:pt x="40958" y="0"/>
                  </a:lnTo>
                  <a:lnTo>
                    <a:pt x="0" y="0"/>
                  </a:lnTo>
                  <a:lnTo>
                    <a:pt x="0" y="9811"/>
                  </a:lnTo>
                  <a:lnTo>
                    <a:pt x="40958" y="981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BA3C6FD5-D87B-138F-260D-33DAA54FA74D}"/>
                </a:ext>
              </a:extLst>
            </p:cNvPr>
            <p:cNvSpPr/>
            <p:nvPr/>
          </p:nvSpPr>
          <p:spPr>
            <a:xfrm>
              <a:off x="5432252" y="2887585"/>
              <a:ext cx="85629" cy="20097"/>
            </a:xfrm>
            <a:custGeom>
              <a:avLst/>
              <a:gdLst>
                <a:gd name="connsiteX0" fmla="*/ 85058 w 85629"/>
                <a:gd name="connsiteY0" fmla="*/ 15526 h 20097"/>
                <a:gd name="connsiteX1" fmla="*/ 9525 w 85629"/>
                <a:gd name="connsiteY1" fmla="*/ 15050 h 20097"/>
                <a:gd name="connsiteX2" fmla="*/ 6477 w 85629"/>
                <a:gd name="connsiteY2" fmla="*/ 13811 h 20097"/>
                <a:gd name="connsiteX3" fmla="*/ 5239 w 85629"/>
                <a:gd name="connsiteY3" fmla="*/ 10954 h 20097"/>
                <a:gd name="connsiteX4" fmla="*/ 5239 w 85629"/>
                <a:gd name="connsiteY4" fmla="*/ 95 h 20097"/>
                <a:gd name="connsiteX5" fmla="*/ 191 w 85629"/>
                <a:gd name="connsiteY5" fmla="*/ 0 h 20097"/>
                <a:gd name="connsiteX6" fmla="*/ 0 w 85629"/>
                <a:gd name="connsiteY6" fmla="*/ 10763 h 20097"/>
                <a:gd name="connsiteX7" fmla="*/ 2476 w 85629"/>
                <a:gd name="connsiteY7" fmla="*/ 16573 h 20097"/>
                <a:gd name="connsiteX8" fmla="*/ 9334 w 85629"/>
                <a:gd name="connsiteY8" fmla="*/ 20002 h 20097"/>
                <a:gd name="connsiteX9" fmla="*/ 85630 w 85629"/>
                <a:gd name="connsiteY9" fmla="*/ 20098 h 20097"/>
                <a:gd name="connsiteX10" fmla="*/ 85058 w 85629"/>
                <a:gd name="connsiteY10" fmla="*/ 15526 h 20097"/>
                <a:gd name="connsiteX11" fmla="*/ 85058 w 85629"/>
                <a:gd name="connsiteY11" fmla="*/ 15526 h 2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629" h="20097">
                  <a:moveTo>
                    <a:pt x="85058" y="15526"/>
                  </a:moveTo>
                  <a:lnTo>
                    <a:pt x="9525" y="15050"/>
                  </a:lnTo>
                  <a:cubicBezTo>
                    <a:pt x="9525" y="15050"/>
                    <a:pt x="7334" y="15050"/>
                    <a:pt x="6477" y="13811"/>
                  </a:cubicBezTo>
                  <a:cubicBezTo>
                    <a:pt x="5525" y="12573"/>
                    <a:pt x="5239" y="10954"/>
                    <a:pt x="5239" y="10954"/>
                  </a:cubicBezTo>
                  <a:lnTo>
                    <a:pt x="5239" y="95"/>
                  </a:lnTo>
                  <a:lnTo>
                    <a:pt x="191" y="0"/>
                  </a:lnTo>
                  <a:lnTo>
                    <a:pt x="0" y="10763"/>
                  </a:lnTo>
                  <a:cubicBezTo>
                    <a:pt x="0" y="10763"/>
                    <a:pt x="476" y="14288"/>
                    <a:pt x="2476" y="16573"/>
                  </a:cubicBezTo>
                  <a:cubicBezTo>
                    <a:pt x="4477" y="18859"/>
                    <a:pt x="9334" y="20002"/>
                    <a:pt x="9334" y="20002"/>
                  </a:cubicBezTo>
                  <a:lnTo>
                    <a:pt x="85630" y="20098"/>
                  </a:lnTo>
                  <a:lnTo>
                    <a:pt x="85058" y="15526"/>
                  </a:lnTo>
                  <a:lnTo>
                    <a:pt x="85058" y="1552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63DBCEF4-1E4A-FB9C-7CF2-B9666A0DEC96}"/>
                </a:ext>
              </a:extLst>
            </p:cNvPr>
            <p:cNvSpPr/>
            <p:nvPr/>
          </p:nvSpPr>
          <p:spPr>
            <a:xfrm>
              <a:off x="5519405" y="3003695"/>
              <a:ext cx="267938" cy="4381"/>
            </a:xfrm>
            <a:custGeom>
              <a:avLst/>
              <a:gdLst>
                <a:gd name="connsiteX0" fmla="*/ 267938 w 267938"/>
                <a:gd name="connsiteY0" fmla="*/ 4381 h 4381"/>
                <a:gd name="connsiteX1" fmla="*/ 267938 w 267938"/>
                <a:gd name="connsiteY1" fmla="*/ 0 h 4381"/>
                <a:gd name="connsiteX2" fmla="*/ 0 w 267938"/>
                <a:gd name="connsiteY2" fmla="*/ 0 h 4381"/>
                <a:gd name="connsiteX3" fmla="*/ 0 w 267938"/>
                <a:gd name="connsiteY3" fmla="*/ 4381 h 4381"/>
                <a:gd name="connsiteX4" fmla="*/ 267938 w 267938"/>
                <a:gd name="connsiteY4" fmla="*/ 4381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38" h="4381">
                  <a:moveTo>
                    <a:pt x="267938" y="4381"/>
                  </a:moveTo>
                  <a:lnTo>
                    <a:pt x="267938" y="0"/>
                  </a:lnTo>
                  <a:lnTo>
                    <a:pt x="0" y="0"/>
                  </a:lnTo>
                  <a:lnTo>
                    <a:pt x="0" y="4381"/>
                  </a:lnTo>
                  <a:lnTo>
                    <a:pt x="267938" y="438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21FAC776-EED3-E576-89A5-F7280C5B673D}"/>
                </a:ext>
              </a:extLst>
            </p:cNvPr>
            <p:cNvSpPr/>
            <p:nvPr/>
          </p:nvSpPr>
          <p:spPr>
            <a:xfrm>
              <a:off x="5785058" y="2992931"/>
              <a:ext cx="11620" cy="7334"/>
            </a:xfrm>
            <a:custGeom>
              <a:avLst/>
              <a:gdLst>
                <a:gd name="connsiteX0" fmla="*/ 11621 w 11620"/>
                <a:gd name="connsiteY0" fmla="*/ 7334 h 7334"/>
                <a:gd name="connsiteX1" fmla="*/ 11621 w 11620"/>
                <a:gd name="connsiteY1" fmla="*/ 0 h 7334"/>
                <a:gd name="connsiteX2" fmla="*/ 0 w 11620"/>
                <a:gd name="connsiteY2" fmla="*/ 0 h 7334"/>
                <a:gd name="connsiteX3" fmla="*/ 0 w 11620"/>
                <a:gd name="connsiteY3" fmla="*/ 7334 h 7334"/>
                <a:gd name="connsiteX4" fmla="*/ 11621 w 11620"/>
                <a:gd name="connsiteY4" fmla="*/ 7334 h 7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20" h="7334">
                  <a:moveTo>
                    <a:pt x="11621" y="7334"/>
                  </a:moveTo>
                  <a:lnTo>
                    <a:pt x="11621" y="0"/>
                  </a:lnTo>
                  <a:lnTo>
                    <a:pt x="0" y="0"/>
                  </a:lnTo>
                  <a:lnTo>
                    <a:pt x="0" y="7334"/>
                  </a:lnTo>
                  <a:lnTo>
                    <a:pt x="11621" y="733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B17CB87D-7ABE-E0A2-99AE-C7CF2CAD0C06}"/>
                </a:ext>
              </a:extLst>
            </p:cNvPr>
            <p:cNvSpPr/>
            <p:nvPr/>
          </p:nvSpPr>
          <p:spPr>
            <a:xfrm>
              <a:off x="5786201" y="3001028"/>
              <a:ext cx="9810" cy="9620"/>
            </a:xfrm>
            <a:custGeom>
              <a:avLst/>
              <a:gdLst>
                <a:gd name="connsiteX0" fmla="*/ 7429 w 9810"/>
                <a:gd name="connsiteY0" fmla="*/ 9620 h 9620"/>
                <a:gd name="connsiteX1" fmla="*/ 9811 w 9810"/>
                <a:gd name="connsiteY1" fmla="*/ 7239 h 9620"/>
                <a:gd name="connsiteX2" fmla="*/ 9811 w 9810"/>
                <a:gd name="connsiteY2" fmla="*/ 2381 h 9620"/>
                <a:gd name="connsiteX3" fmla="*/ 7429 w 9810"/>
                <a:gd name="connsiteY3" fmla="*/ 0 h 9620"/>
                <a:gd name="connsiteX4" fmla="*/ 2381 w 9810"/>
                <a:gd name="connsiteY4" fmla="*/ 0 h 9620"/>
                <a:gd name="connsiteX5" fmla="*/ 0 w 9810"/>
                <a:gd name="connsiteY5" fmla="*/ 2381 h 9620"/>
                <a:gd name="connsiteX6" fmla="*/ 0 w 9810"/>
                <a:gd name="connsiteY6" fmla="*/ 7239 h 9620"/>
                <a:gd name="connsiteX7" fmla="*/ 2381 w 9810"/>
                <a:gd name="connsiteY7" fmla="*/ 9620 h 9620"/>
                <a:gd name="connsiteX8" fmla="*/ 7429 w 9810"/>
                <a:gd name="connsiteY8" fmla="*/ 9620 h 9620"/>
                <a:gd name="connsiteX9" fmla="*/ 7429 w 9810"/>
                <a:gd name="connsiteY9" fmla="*/ 9620 h 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810" h="9620">
                  <a:moveTo>
                    <a:pt x="7429" y="9620"/>
                  </a:moveTo>
                  <a:cubicBezTo>
                    <a:pt x="8763" y="9620"/>
                    <a:pt x="9811" y="8572"/>
                    <a:pt x="9811" y="7239"/>
                  </a:cubicBezTo>
                  <a:lnTo>
                    <a:pt x="9811" y="2381"/>
                  </a:lnTo>
                  <a:cubicBezTo>
                    <a:pt x="9811" y="1048"/>
                    <a:pt x="8763" y="0"/>
                    <a:pt x="7429" y="0"/>
                  </a:cubicBezTo>
                  <a:lnTo>
                    <a:pt x="2381" y="0"/>
                  </a:lnTo>
                  <a:cubicBezTo>
                    <a:pt x="1048" y="0"/>
                    <a:pt x="0" y="1048"/>
                    <a:pt x="0" y="2381"/>
                  </a:cubicBezTo>
                  <a:lnTo>
                    <a:pt x="0" y="7239"/>
                  </a:lnTo>
                  <a:cubicBezTo>
                    <a:pt x="0" y="8572"/>
                    <a:pt x="1048" y="9620"/>
                    <a:pt x="2381" y="9620"/>
                  </a:cubicBezTo>
                  <a:lnTo>
                    <a:pt x="7429" y="9620"/>
                  </a:lnTo>
                  <a:lnTo>
                    <a:pt x="7429" y="962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635E5836-8EBE-2F29-C19C-2C8ED3F95237}"/>
                </a:ext>
              </a:extLst>
            </p:cNvPr>
            <p:cNvSpPr/>
            <p:nvPr/>
          </p:nvSpPr>
          <p:spPr>
            <a:xfrm>
              <a:off x="5787439" y="2996646"/>
              <a:ext cx="6286" cy="7715"/>
            </a:xfrm>
            <a:custGeom>
              <a:avLst/>
              <a:gdLst>
                <a:gd name="connsiteX0" fmla="*/ 6287 w 6286"/>
                <a:gd name="connsiteY0" fmla="*/ 7715 h 7715"/>
                <a:gd name="connsiteX1" fmla="*/ 6287 w 6286"/>
                <a:gd name="connsiteY1" fmla="*/ 0 h 7715"/>
                <a:gd name="connsiteX2" fmla="*/ 0 w 6286"/>
                <a:gd name="connsiteY2" fmla="*/ 0 h 7715"/>
                <a:gd name="connsiteX3" fmla="*/ 0 w 6286"/>
                <a:gd name="connsiteY3" fmla="*/ 7715 h 7715"/>
                <a:gd name="connsiteX4" fmla="*/ 6287 w 6286"/>
                <a:gd name="connsiteY4" fmla="*/ 7715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" h="7715">
                  <a:moveTo>
                    <a:pt x="6287" y="7715"/>
                  </a:moveTo>
                  <a:lnTo>
                    <a:pt x="6287" y="0"/>
                  </a:lnTo>
                  <a:lnTo>
                    <a:pt x="0" y="0"/>
                  </a:lnTo>
                  <a:lnTo>
                    <a:pt x="0" y="7715"/>
                  </a:lnTo>
                  <a:lnTo>
                    <a:pt x="6287" y="771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C488D6E4-C2BB-2F47-24AA-18206081E6AD}"/>
                </a:ext>
              </a:extLst>
            </p:cNvPr>
            <p:cNvSpPr/>
            <p:nvPr/>
          </p:nvSpPr>
          <p:spPr>
            <a:xfrm>
              <a:off x="5782010" y="2996837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7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5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7"/>
                    <a:pt x="9049" y="18097"/>
                  </a:cubicBezTo>
                  <a:cubicBezTo>
                    <a:pt x="4000" y="18097"/>
                    <a:pt x="0" y="14002"/>
                    <a:pt x="0" y="9049"/>
                  </a:cubicBezTo>
                  <a:cubicBezTo>
                    <a:pt x="0" y="4000"/>
                    <a:pt x="4096" y="0"/>
                    <a:pt x="9049" y="0"/>
                  </a:cubicBezTo>
                  <a:cubicBezTo>
                    <a:pt x="14097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5"/>
                    <a:pt x="9049" y="17335"/>
                  </a:cubicBezTo>
                  <a:cubicBezTo>
                    <a:pt x="4477" y="17335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43A18DEA-5107-1227-A7AF-ED28831168FA}"/>
                </a:ext>
              </a:extLst>
            </p:cNvPr>
            <p:cNvSpPr/>
            <p:nvPr/>
          </p:nvSpPr>
          <p:spPr>
            <a:xfrm>
              <a:off x="5790773" y="3007505"/>
              <a:ext cx="762" cy="6858"/>
            </a:xfrm>
            <a:custGeom>
              <a:avLst/>
              <a:gdLst>
                <a:gd name="connsiteX0" fmla="*/ 762 w 762"/>
                <a:gd name="connsiteY0" fmla="*/ 6858 h 6858"/>
                <a:gd name="connsiteX1" fmla="*/ 762 w 762"/>
                <a:gd name="connsiteY1" fmla="*/ 0 h 6858"/>
                <a:gd name="connsiteX2" fmla="*/ 0 w 762"/>
                <a:gd name="connsiteY2" fmla="*/ 0 h 6858"/>
                <a:gd name="connsiteX3" fmla="*/ 0 w 762"/>
                <a:gd name="connsiteY3" fmla="*/ 6858 h 6858"/>
                <a:gd name="connsiteX4" fmla="*/ 762 w 762"/>
                <a:gd name="connsiteY4" fmla="*/ 6858 h 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6858">
                  <a:moveTo>
                    <a:pt x="762" y="685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858"/>
                  </a:lnTo>
                  <a:lnTo>
                    <a:pt x="762" y="6858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6309BBC2-3F29-267E-0A13-1ED8F3050899}"/>
                </a:ext>
              </a:extLst>
            </p:cNvPr>
            <p:cNvSpPr/>
            <p:nvPr/>
          </p:nvSpPr>
          <p:spPr>
            <a:xfrm>
              <a:off x="5782486" y="3005980"/>
              <a:ext cx="7524" cy="2095"/>
            </a:xfrm>
            <a:custGeom>
              <a:avLst/>
              <a:gdLst>
                <a:gd name="connsiteX0" fmla="*/ 95 w 7524"/>
                <a:gd name="connsiteY0" fmla="*/ 2096 h 2095"/>
                <a:gd name="connsiteX1" fmla="*/ 7525 w 7524"/>
                <a:gd name="connsiteY1" fmla="*/ 762 h 2095"/>
                <a:gd name="connsiteX2" fmla="*/ 7334 w 7524"/>
                <a:gd name="connsiteY2" fmla="*/ 0 h 2095"/>
                <a:gd name="connsiteX3" fmla="*/ 0 w 7524"/>
                <a:gd name="connsiteY3" fmla="*/ 1333 h 2095"/>
                <a:gd name="connsiteX4" fmla="*/ 95 w 7524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2095">
                  <a:moveTo>
                    <a:pt x="95" y="2096"/>
                  </a:moveTo>
                  <a:lnTo>
                    <a:pt x="7525" y="762"/>
                  </a:lnTo>
                  <a:lnTo>
                    <a:pt x="7334" y="0"/>
                  </a:lnTo>
                  <a:lnTo>
                    <a:pt x="0" y="1333"/>
                  </a:lnTo>
                  <a:lnTo>
                    <a:pt x="95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AA47D705-CE1C-67C3-F248-8294A7685291}"/>
                </a:ext>
              </a:extLst>
            </p:cNvPr>
            <p:cNvSpPr/>
            <p:nvPr/>
          </p:nvSpPr>
          <p:spPr>
            <a:xfrm>
              <a:off x="5785248" y="2999122"/>
              <a:ext cx="5143" cy="5524"/>
            </a:xfrm>
            <a:custGeom>
              <a:avLst/>
              <a:gdLst>
                <a:gd name="connsiteX0" fmla="*/ 0 w 5143"/>
                <a:gd name="connsiteY0" fmla="*/ 476 h 5524"/>
                <a:gd name="connsiteX1" fmla="*/ 4572 w 5143"/>
                <a:gd name="connsiteY1" fmla="*/ 5525 h 5524"/>
                <a:gd name="connsiteX2" fmla="*/ 5143 w 5143"/>
                <a:gd name="connsiteY2" fmla="*/ 5048 h 5524"/>
                <a:gd name="connsiteX3" fmla="*/ 571 w 5143"/>
                <a:gd name="connsiteY3" fmla="*/ 0 h 5524"/>
                <a:gd name="connsiteX4" fmla="*/ 0 w 5143"/>
                <a:gd name="connsiteY4" fmla="*/ 476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524">
                  <a:moveTo>
                    <a:pt x="0" y="476"/>
                  </a:moveTo>
                  <a:lnTo>
                    <a:pt x="4572" y="5525"/>
                  </a:lnTo>
                  <a:lnTo>
                    <a:pt x="5143" y="5048"/>
                  </a:lnTo>
                  <a:lnTo>
                    <a:pt x="571" y="0"/>
                  </a:lnTo>
                  <a:lnTo>
                    <a:pt x="0" y="47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1D923D38-4F6C-D38E-B453-E481803FD991}"/>
                </a:ext>
              </a:extLst>
            </p:cNvPr>
            <p:cNvSpPr/>
            <p:nvPr/>
          </p:nvSpPr>
          <p:spPr>
            <a:xfrm>
              <a:off x="5791630" y="2998265"/>
              <a:ext cx="4191" cy="6191"/>
            </a:xfrm>
            <a:custGeom>
              <a:avLst/>
              <a:gdLst>
                <a:gd name="connsiteX0" fmla="*/ 3620 w 4191"/>
                <a:gd name="connsiteY0" fmla="*/ 0 h 6191"/>
                <a:gd name="connsiteX1" fmla="*/ 0 w 4191"/>
                <a:gd name="connsiteY1" fmla="*/ 5810 h 6191"/>
                <a:gd name="connsiteX2" fmla="*/ 667 w 4191"/>
                <a:gd name="connsiteY2" fmla="*/ 6191 h 6191"/>
                <a:gd name="connsiteX3" fmla="*/ 4191 w 4191"/>
                <a:gd name="connsiteY3" fmla="*/ 381 h 6191"/>
                <a:gd name="connsiteX4" fmla="*/ 3620 w 4191"/>
                <a:gd name="connsiteY4" fmla="*/ 0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191">
                  <a:moveTo>
                    <a:pt x="3620" y="0"/>
                  </a:moveTo>
                  <a:lnTo>
                    <a:pt x="0" y="5810"/>
                  </a:lnTo>
                  <a:lnTo>
                    <a:pt x="667" y="6191"/>
                  </a:lnTo>
                  <a:lnTo>
                    <a:pt x="4191" y="381"/>
                  </a:lnTo>
                  <a:lnTo>
                    <a:pt x="3620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43249F7E-19F8-5253-8732-C132FCB98C0F}"/>
                </a:ext>
              </a:extLst>
            </p:cNvPr>
            <p:cNvSpPr/>
            <p:nvPr/>
          </p:nvSpPr>
          <p:spPr>
            <a:xfrm>
              <a:off x="5792678" y="3005885"/>
              <a:ext cx="6858" cy="2571"/>
            </a:xfrm>
            <a:custGeom>
              <a:avLst/>
              <a:gdLst>
                <a:gd name="connsiteX0" fmla="*/ 6858 w 6858"/>
                <a:gd name="connsiteY0" fmla="*/ 1810 h 2571"/>
                <a:gd name="connsiteX1" fmla="*/ 191 w 6858"/>
                <a:gd name="connsiteY1" fmla="*/ 0 h 2571"/>
                <a:gd name="connsiteX2" fmla="*/ 0 w 6858"/>
                <a:gd name="connsiteY2" fmla="*/ 762 h 2571"/>
                <a:gd name="connsiteX3" fmla="*/ 6667 w 6858"/>
                <a:gd name="connsiteY3" fmla="*/ 2572 h 2571"/>
                <a:gd name="connsiteX4" fmla="*/ 6858 w 6858"/>
                <a:gd name="connsiteY4" fmla="*/ 1810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8" h="2571">
                  <a:moveTo>
                    <a:pt x="6858" y="1810"/>
                  </a:moveTo>
                  <a:lnTo>
                    <a:pt x="191" y="0"/>
                  </a:lnTo>
                  <a:lnTo>
                    <a:pt x="0" y="762"/>
                  </a:lnTo>
                  <a:lnTo>
                    <a:pt x="6667" y="2572"/>
                  </a:lnTo>
                  <a:lnTo>
                    <a:pt x="6858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EB972186-2AE1-87BA-7E4C-03C11CC5F799}"/>
                </a:ext>
              </a:extLst>
            </p:cNvPr>
            <p:cNvSpPr/>
            <p:nvPr/>
          </p:nvSpPr>
          <p:spPr>
            <a:xfrm>
              <a:off x="5789154" y="3003599"/>
              <a:ext cx="4191" cy="4191"/>
            </a:xfrm>
            <a:custGeom>
              <a:avLst/>
              <a:gdLst>
                <a:gd name="connsiteX0" fmla="*/ 4191 w 4191"/>
                <a:gd name="connsiteY0" fmla="*/ 2096 h 4191"/>
                <a:gd name="connsiteX1" fmla="*/ 2096 w 4191"/>
                <a:gd name="connsiteY1" fmla="*/ 4191 h 4191"/>
                <a:gd name="connsiteX2" fmla="*/ 0 w 4191"/>
                <a:gd name="connsiteY2" fmla="*/ 2096 h 4191"/>
                <a:gd name="connsiteX3" fmla="*/ 2096 w 4191"/>
                <a:gd name="connsiteY3" fmla="*/ 0 h 4191"/>
                <a:gd name="connsiteX4" fmla="*/ 4191 w 4191"/>
                <a:gd name="connsiteY4" fmla="*/ 2096 h 4191"/>
                <a:gd name="connsiteX5" fmla="*/ 4191 w 4191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" h="4191">
                  <a:moveTo>
                    <a:pt x="4191" y="2096"/>
                  </a:moveTo>
                  <a:cubicBezTo>
                    <a:pt x="4191" y="3238"/>
                    <a:pt x="3238" y="4191"/>
                    <a:pt x="2096" y="4191"/>
                  </a:cubicBezTo>
                  <a:cubicBezTo>
                    <a:pt x="952" y="4191"/>
                    <a:pt x="0" y="3238"/>
                    <a:pt x="0" y="2096"/>
                  </a:cubicBezTo>
                  <a:cubicBezTo>
                    <a:pt x="0" y="953"/>
                    <a:pt x="952" y="0"/>
                    <a:pt x="2096" y="0"/>
                  </a:cubicBezTo>
                  <a:cubicBezTo>
                    <a:pt x="3238" y="95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6E02F0FA-6DC9-D1C1-F0A3-3C271BBD06AD}"/>
                </a:ext>
              </a:extLst>
            </p:cNvPr>
            <p:cNvSpPr/>
            <p:nvPr/>
          </p:nvSpPr>
          <p:spPr>
            <a:xfrm>
              <a:off x="5853733" y="3081038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7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5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7"/>
                    <a:pt x="9049" y="18097"/>
                  </a:cubicBezTo>
                  <a:cubicBezTo>
                    <a:pt x="4000" y="18097"/>
                    <a:pt x="0" y="14002"/>
                    <a:pt x="0" y="9049"/>
                  </a:cubicBezTo>
                  <a:cubicBezTo>
                    <a:pt x="0" y="4000"/>
                    <a:pt x="4096" y="0"/>
                    <a:pt x="9049" y="0"/>
                  </a:cubicBezTo>
                  <a:cubicBezTo>
                    <a:pt x="14002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5"/>
                    <a:pt x="9049" y="17335"/>
                  </a:cubicBezTo>
                  <a:cubicBezTo>
                    <a:pt x="4477" y="17335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9F263813-4BE5-AF3A-13A4-4E705E9024C6}"/>
                </a:ext>
              </a:extLst>
            </p:cNvPr>
            <p:cNvSpPr/>
            <p:nvPr/>
          </p:nvSpPr>
          <p:spPr>
            <a:xfrm>
              <a:off x="5862401" y="3091705"/>
              <a:ext cx="761" cy="6762"/>
            </a:xfrm>
            <a:custGeom>
              <a:avLst/>
              <a:gdLst>
                <a:gd name="connsiteX0" fmla="*/ 762 w 761"/>
                <a:gd name="connsiteY0" fmla="*/ 6763 h 6762"/>
                <a:gd name="connsiteX1" fmla="*/ 762 w 761"/>
                <a:gd name="connsiteY1" fmla="*/ 0 h 6762"/>
                <a:gd name="connsiteX2" fmla="*/ 0 w 761"/>
                <a:gd name="connsiteY2" fmla="*/ 0 h 6762"/>
                <a:gd name="connsiteX3" fmla="*/ 0 w 761"/>
                <a:gd name="connsiteY3" fmla="*/ 6763 h 6762"/>
                <a:gd name="connsiteX4" fmla="*/ 762 w 761"/>
                <a:gd name="connsiteY4" fmla="*/ 6763 h 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" h="6762">
                  <a:moveTo>
                    <a:pt x="762" y="6763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763"/>
                  </a:lnTo>
                  <a:lnTo>
                    <a:pt x="762" y="676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FB0AD345-0002-DB8F-FE1C-26EA62FD3F5F}"/>
                </a:ext>
              </a:extLst>
            </p:cNvPr>
            <p:cNvSpPr/>
            <p:nvPr/>
          </p:nvSpPr>
          <p:spPr>
            <a:xfrm>
              <a:off x="5854114" y="3090181"/>
              <a:ext cx="7524" cy="2095"/>
            </a:xfrm>
            <a:custGeom>
              <a:avLst/>
              <a:gdLst>
                <a:gd name="connsiteX0" fmla="*/ 191 w 7524"/>
                <a:gd name="connsiteY0" fmla="*/ 2096 h 2095"/>
                <a:gd name="connsiteX1" fmla="*/ 7525 w 7524"/>
                <a:gd name="connsiteY1" fmla="*/ 667 h 2095"/>
                <a:gd name="connsiteX2" fmla="*/ 7429 w 7524"/>
                <a:gd name="connsiteY2" fmla="*/ 0 h 2095"/>
                <a:gd name="connsiteX3" fmla="*/ 0 w 7524"/>
                <a:gd name="connsiteY3" fmla="*/ 1334 h 2095"/>
                <a:gd name="connsiteX4" fmla="*/ 191 w 7524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2095">
                  <a:moveTo>
                    <a:pt x="191" y="2096"/>
                  </a:moveTo>
                  <a:lnTo>
                    <a:pt x="7525" y="667"/>
                  </a:lnTo>
                  <a:lnTo>
                    <a:pt x="7429" y="0"/>
                  </a:lnTo>
                  <a:lnTo>
                    <a:pt x="0" y="1334"/>
                  </a:lnTo>
                  <a:lnTo>
                    <a:pt x="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DE71472A-2469-D998-3340-FDCDEACA19A8}"/>
                </a:ext>
              </a:extLst>
            </p:cNvPr>
            <p:cNvSpPr/>
            <p:nvPr/>
          </p:nvSpPr>
          <p:spPr>
            <a:xfrm>
              <a:off x="5856876" y="3083324"/>
              <a:ext cx="5238" cy="5524"/>
            </a:xfrm>
            <a:custGeom>
              <a:avLst/>
              <a:gdLst>
                <a:gd name="connsiteX0" fmla="*/ 0 w 5238"/>
                <a:gd name="connsiteY0" fmla="*/ 476 h 5524"/>
                <a:gd name="connsiteX1" fmla="*/ 4667 w 5238"/>
                <a:gd name="connsiteY1" fmla="*/ 5524 h 5524"/>
                <a:gd name="connsiteX2" fmla="*/ 5239 w 5238"/>
                <a:gd name="connsiteY2" fmla="*/ 5048 h 5524"/>
                <a:gd name="connsiteX3" fmla="*/ 571 w 5238"/>
                <a:gd name="connsiteY3" fmla="*/ 0 h 5524"/>
                <a:gd name="connsiteX4" fmla="*/ 0 w 5238"/>
                <a:gd name="connsiteY4" fmla="*/ 476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8" h="5524">
                  <a:moveTo>
                    <a:pt x="0" y="476"/>
                  </a:moveTo>
                  <a:lnTo>
                    <a:pt x="4667" y="5524"/>
                  </a:lnTo>
                  <a:lnTo>
                    <a:pt x="5239" y="5048"/>
                  </a:lnTo>
                  <a:lnTo>
                    <a:pt x="571" y="0"/>
                  </a:lnTo>
                  <a:lnTo>
                    <a:pt x="0" y="47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CC20365A-59D8-D139-AAA5-2B2E1009C9EF}"/>
                </a:ext>
              </a:extLst>
            </p:cNvPr>
            <p:cNvSpPr/>
            <p:nvPr/>
          </p:nvSpPr>
          <p:spPr>
            <a:xfrm>
              <a:off x="5863353" y="3082466"/>
              <a:ext cx="4191" cy="6191"/>
            </a:xfrm>
            <a:custGeom>
              <a:avLst/>
              <a:gdLst>
                <a:gd name="connsiteX0" fmla="*/ 3524 w 4191"/>
                <a:gd name="connsiteY0" fmla="*/ 0 h 6191"/>
                <a:gd name="connsiteX1" fmla="*/ 0 w 4191"/>
                <a:gd name="connsiteY1" fmla="*/ 5810 h 6191"/>
                <a:gd name="connsiteX2" fmla="*/ 667 w 4191"/>
                <a:gd name="connsiteY2" fmla="*/ 6191 h 6191"/>
                <a:gd name="connsiteX3" fmla="*/ 4191 w 4191"/>
                <a:gd name="connsiteY3" fmla="*/ 381 h 6191"/>
                <a:gd name="connsiteX4" fmla="*/ 3524 w 4191"/>
                <a:gd name="connsiteY4" fmla="*/ 0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191">
                  <a:moveTo>
                    <a:pt x="3524" y="0"/>
                  </a:moveTo>
                  <a:lnTo>
                    <a:pt x="0" y="5810"/>
                  </a:lnTo>
                  <a:lnTo>
                    <a:pt x="667" y="6191"/>
                  </a:lnTo>
                  <a:lnTo>
                    <a:pt x="4191" y="381"/>
                  </a:lnTo>
                  <a:lnTo>
                    <a:pt x="3524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1750488E-AFAE-43F0-A286-F56B8C9412DE}"/>
                </a:ext>
              </a:extLst>
            </p:cNvPr>
            <p:cNvSpPr/>
            <p:nvPr/>
          </p:nvSpPr>
          <p:spPr>
            <a:xfrm>
              <a:off x="5864401" y="3090086"/>
              <a:ext cx="6762" cy="2571"/>
            </a:xfrm>
            <a:custGeom>
              <a:avLst/>
              <a:gdLst>
                <a:gd name="connsiteX0" fmla="*/ 6763 w 6762"/>
                <a:gd name="connsiteY0" fmla="*/ 1810 h 2571"/>
                <a:gd name="connsiteX1" fmla="*/ 191 w 6762"/>
                <a:gd name="connsiteY1" fmla="*/ 0 h 2571"/>
                <a:gd name="connsiteX2" fmla="*/ 0 w 6762"/>
                <a:gd name="connsiteY2" fmla="*/ 762 h 2571"/>
                <a:gd name="connsiteX3" fmla="*/ 6572 w 6762"/>
                <a:gd name="connsiteY3" fmla="*/ 2572 h 2571"/>
                <a:gd name="connsiteX4" fmla="*/ 6763 w 6762"/>
                <a:gd name="connsiteY4" fmla="*/ 1810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" h="2571">
                  <a:moveTo>
                    <a:pt x="6763" y="1810"/>
                  </a:moveTo>
                  <a:lnTo>
                    <a:pt x="191" y="0"/>
                  </a:lnTo>
                  <a:lnTo>
                    <a:pt x="0" y="762"/>
                  </a:lnTo>
                  <a:lnTo>
                    <a:pt x="6572" y="2572"/>
                  </a:lnTo>
                  <a:lnTo>
                    <a:pt x="6763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06DB0CAD-8B34-E583-C65A-63F4E5CA3F05}"/>
                </a:ext>
              </a:extLst>
            </p:cNvPr>
            <p:cNvSpPr/>
            <p:nvPr/>
          </p:nvSpPr>
          <p:spPr>
            <a:xfrm>
              <a:off x="5860781" y="3087800"/>
              <a:ext cx="4191" cy="4191"/>
            </a:xfrm>
            <a:custGeom>
              <a:avLst/>
              <a:gdLst>
                <a:gd name="connsiteX0" fmla="*/ 4191 w 4191"/>
                <a:gd name="connsiteY0" fmla="*/ 2096 h 4191"/>
                <a:gd name="connsiteX1" fmla="*/ 2096 w 4191"/>
                <a:gd name="connsiteY1" fmla="*/ 4191 h 4191"/>
                <a:gd name="connsiteX2" fmla="*/ 0 w 4191"/>
                <a:gd name="connsiteY2" fmla="*/ 2096 h 4191"/>
                <a:gd name="connsiteX3" fmla="*/ 2096 w 4191"/>
                <a:gd name="connsiteY3" fmla="*/ 0 h 4191"/>
                <a:gd name="connsiteX4" fmla="*/ 4191 w 4191"/>
                <a:gd name="connsiteY4" fmla="*/ 2096 h 4191"/>
                <a:gd name="connsiteX5" fmla="*/ 4191 w 4191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" h="4191">
                  <a:moveTo>
                    <a:pt x="4191" y="2096"/>
                  </a:moveTo>
                  <a:cubicBezTo>
                    <a:pt x="4191" y="3239"/>
                    <a:pt x="3239" y="4191"/>
                    <a:pt x="2096" y="4191"/>
                  </a:cubicBezTo>
                  <a:cubicBezTo>
                    <a:pt x="953" y="4191"/>
                    <a:pt x="0" y="3239"/>
                    <a:pt x="0" y="2096"/>
                  </a:cubicBezTo>
                  <a:cubicBezTo>
                    <a:pt x="0" y="953"/>
                    <a:pt x="953" y="0"/>
                    <a:pt x="2096" y="0"/>
                  </a:cubicBezTo>
                  <a:cubicBezTo>
                    <a:pt x="3239" y="0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9842602B-0E5D-3879-7362-4FBFE396AD30}"/>
                </a:ext>
              </a:extLst>
            </p:cNvPr>
            <p:cNvSpPr/>
            <p:nvPr/>
          </p:nvSpPr>
          <p:spPr>
            <a:xfrm>
              <a:off x="5476734" y="2873488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8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6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8"/>
                    <a:pt x="9049" y="18098"/>
                  </a:cubicBezTo>
                  <a:cubicBezTo>
                    <a:pt x="4000" y="18098"/>
                    <a:pt x="0" y="14002"/>
                    <a:pt x="0" y="9049"/>
                  </a:cubicBezTo>
                  <a:cubicBezTo>
                    <a:pt x="0" y="4001"/>
                    <a:pt x="4096" y="0"/>
                    <a:pt x="9049" y="0"/>
                  </a:cubicBezTo>
                  <a:cubicBezTo>
                    <a:pt x="14002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6"/>
                    <a:pt x="9049" y="17336"/>
                  </a:cubicBezTo>
                  <a:cubicBezTo>
                    <a:pt x="4477" y="17336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3DB9FEDE-2BFF-20E2-BB49-3D94B6D0E9B7}"/>
                </a:ext>
              </a:extLst>
            </p:cNvPr>
            <p:cNvSpPr/>
            <p:nvPr/>
          </p:nvSpPr>
          <p:spPr>
            <a:xfrm>
              <a:off x="5485496" y="2884156"/>
              <a:ext cx="762" cy="6858"/>
            </a:xfrm>
            <a:custGeom>
              <a:avLst/>
              <a:gdLst>
                <a:gd name="connsiteX0" fmla="*/ 762 w 762"/>
                <a:gd name="connsiteY0" fmla="*/ 6858 h 6858"/>
                <a:gd name="connsiteX1" fmla="*/ 762 w 762"/>
                <a:gd name="connsiteY1" fmla="*/ 0 h 6858"/>
                <a:gd name="connsiteX2" fmla="*/ 0 w 762"/>
                <a:gd name="connsiteY2" fmla="*/ 0 h 6858"/>
                <a:gd name="connsiteX3" fmla="*/ 0 w 762"/>
                <a:gd name="connsiteY3" fmla="*/ 6858 h 6858"/>
                <a:gd name="connsiteX4" fmla="*/ 762 w 762"/>
                <a:gd name="connsiteY4" fmla="*/ 6858 h 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6858">
                  <a:moveTo>
                    <a:pt x="762" y="685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858"/>
                  </a:lnTo>
                  <a:lnTo>
                    <a:pt x="762" y="6858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D66CFE5E-1CCB-DCF7-A764-1E8C2800621B}"/>
                </a:ext>
              </a:extLst>
            </p:cNvPr>
            <p:cNvSpPr/>
            <p:nvPr/>
          </p:nvSpPr>
          <p:spPr>
            <a:xfrm>
              <a:off x="5477114" y="2882632"/>
              <a:ext cx="7620" cy="2095"/>
            </a:xfrm>
            <a:custGeom>
              <a:avLst/>
              <a:gdLst>
                <a:gd name="connsiteX0" fmla="*/ 191 w 7620"/>
                <a:gd name="connsiteY0" fmla="*/ 2096 h 2095"/>
                <a:gd name="connsiteX1" fmla="*/ 7620 w 7620"/>
                <a:gd name="connsiteY1" fmla="*/ 762 h 2095"/>
                <a:gd name="connsiteX2" fmla="*/ 7429 w 7620"/>
                <a:gd name="connsiteY2" fmla="*/ 0 h 2095"/>
                <a:gd name="connsiteX3" fmla="*/ 0 w 7620"/>
                <a:gd name="connsiteY3" fmla="*/ 1429 h 2095"/>
                <a:gd name="connsiteX4" fmla="*/ 191 w 7620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" h="2095">
                  <a:moveTo>
                    <a:pt x="191" y="2096"/>
                  </a:moveTo>
                  <a:lnTo>
                    <a:pt x="7620" y="762"/>
                  </a:lnTo>
                  <a:lnTo>
                    <a:pt x="7429" y="0"/>
                  </a:lnTo>
                  <a:lnTo>
                    <a:pt x="0" y="1429"/>
                  </a:lnTo>
                  <a:lnTo>
                    <a:pt x="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8F5235D2-DCE0-4C3A-997F-3CB51B595FFD}"/>
                </a:ext>
              </a:extLst>
            </p:cNvPr>
            <p:cNvSpPr/>
            <p:nvPr/>
          </p:nvSpPr>
          <p:spPr>
            <a:xfrm>
              <a:off x="5479972" y="2875774"/>
              <a:ext cx="5143" cy="5524"/>
            </a:xfrm>
            <a:custGeom>
              <a:avLst/>
              <a:gdLst>
                <a:gd name="connsiteX0" fmla="*/ 0 w 5143"/>
                <a:gd name="connsiteY0" fmla="*/ 571 h 5524"/>
                <a:gd name="connsiteX1" fmla="*/ 4572 w 5143"/>
                <a:gd name="connsiteY1" fmla="*/ 5525 h 5524"/>
                <a:gd name="connsiteX2" fmla="*/ 5144 w 5143"/>
                <a:gd name="connsiteY2" fmla="*/ 5048 h 5524"/>
                <a:gd name="connsiteX3" fmla="*/ 476 w 5143"/>
                <a:gd name="connsiteY3" fmla="*/ 0 h 5524"/>
                <a:gd name="connsiteX4" fmla="*/ 0 w 5143"/>
                <a:gd name="connsiteY4" fmla="*/ 571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524">
                  <a:moveTo>
                    <a:pt x="0" y="571"/>
                  </a:moveTo>
                  <a:lnTo>
                    <a:pt x="4572" y="5525"/>
                  </a:lnTo>
                  <a:lnTo>
                    <a:pt x="5144" y="5048"/>
                  </a:lnTo>
                  <a:lnTo>
                    <a:pt x="476" y="0"/>
                  </a:lnTo>
                  <a:lnTo>
                    <a:pt x="0" y="57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705278E3-3337-CEF7-E155-5D8912B99303}"/>
                </a:ext>
              </a:extLst>
            </p:cNvPr>
            <p:cNvSpPr/>
            <p:nvPr/>
          </p:nvSpPr>
          <p:spPr>
            <a:xfrm>
              <a:off x="5486354" y="2874917"/>
              <a:ext cx="4191" cy="6286"/>
            </a:xfrm>
            <a:custGeom>
              <a:avLst/>
              <a:gdLst>
                <a:gd name="connsiteX0" fmla="*/ 3524 w 4191"/>
                <a:gd name="connsiteY0" fmla="*/ 0 h 6286"/>
                <a:gd name="connsiteX1" fmla="*/ 0 w 4191"/>
                <a:gd name="connsiteY1" fmla="*/ 5810 h 6286"/>
                <a:gd name="connsiteX2" fmla="*/ 667 w 4191"/>
                <a:gd name="connsiteY2" fmla="*/ 6287 h 6286"/>
                <a:gd name="connsiteX3" fmla="*/ 4191 w 4191"/>
                <a:gd name="connsiteY3" fmla="*/ 381 h 6286"/>
                <a:gd name="connsiteX4" fmla="*/ 3524 w 4191"/>
                <a:gd name="connsiteY4" fmla="*/ 0 h 6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286">
                  <a:moveTo>
                    <a:pt x="3524" y="0"/>
                  </a:moveTo>
                  <a:lnTo>
                    <a:pt x="0" y="5810"/>
                  </a:lnTo>
                  <a:lnTo>
                    <a:pt x="667" y="6287"/>
                  </a:lnTo>
                  <a:lnTo>
                    <a:pt x="4191" y="381"/>
                  </a:lnTo>
                  <a:lnTo>
                    <a:pt x="3524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D0AB91D2-A4C6-AF84-DA06-91570398896D}"/>
                </a:ext>
              </a:extLst>
            </p:cNvPr>
            <p:cNvSpPr/>
            <p:nvPr/>
          </p:nvSpPr>
          <p:spPr>
            <a:xfrm>
              <a:off x="5487401" y="2882632"/>
              <a:ext cx="6762" cy="2476"/>
            </a:xfrm>
            <a:custGeom>
              <a:avLst/>
              <a:gdLst>
                <a:gd name="connsiteX0" fmla="*/ 6763 w 6762"/>
                <a:gd name="connsiteY0" fmla="*/ 1810 h 2476"/>
                <a:gd name="connsiteX1" fmla="*/ 191 w 6762"/>
                <a:gd name="connsiteY1" fmla="*/ 0 h 2476"/>
                <a:gd name="connsiteX2" fmla="*/ 0 w 6762"/>
                <a:gd name="connsiteY2" fmla="*/ 667 h 2476"/>
                <a:gd name="connsiteX3" fmla="*/ 6572 w 6762"/>
                <a:gd name="connsiteY3" fmla="*/ 2476 h 2476"/>
                <a:gd name="connsiteX4" fmla="*/ 6763 w 6762"/>
                <a:gd name="connsiteY4" fmla="*/ 1810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" h="2476">
                  <a:moveTo>
                    <a:pt x="6763" y="1810"/>
                  </a:moveTo>
                  <a:lnTo>
                    <a:pt x="191" y="0"/>
                  </a:lnTo>
                  <a:lnTo>
                    <a:pt x="0" y="667"/>
                  </a:lnTo>
                  <a:lnTo>
                    <a:pt x="6572" y="2476"/>
                  </a:lnTo>
                  <a:lnTo>
                    <a:pt x="6763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F026E934-8E82-04F9-BD31-05A314D132AF}"/>
                </a:ext>
              </a:extLst>
            </p:cNvPr>
            <p:cNvSpPr/>
            <p:nvPr/>
          </p:nvSpPr>
          <p:spPr>
            <a:xfrm>
              <a:off x="5483782" y="2880346"/>
              <a:ext cx="4190" cy="4191"/>
            </a:xfrm>
            <a:custGeom>
              <a:avLst/>
              <a:gdLst>
                <a:gd name="connsiteX0" fmla="*/ 4191 w 4190"/>
                <a:gd name="connsiteY0" fmla="*/ 2096 h 4191"/>
                <a:gd name="connsiteX1" fmla="*/ 2096 w 4190"/>
                <a:gd name="connsiteY1" fmla="*/ 4191 h 4191"/>
                <a:gd name="connsiteX2" fmla="*/ 0 w 4190"/>
                <a:gd name="connsiteY2" fmla="*/ 2096 h 4191"/>
                <a:gd name="connsiteX3" fmla="*/ 2096 w 4190"/>
                <a:gd name="connsiteY3" fmla="*/ 0 h 4191"/>
                <a:gd name="connsiteX4" fmla="*/ 4191 w 4190"/>
                <a:gd name="connsiteY4" fmla="*/ 2096 h 4191"/>
                <a:gd name="connsiteX5" fmla="*/ 4191 w 4190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0" h="4191">
                  <a:moveTo>
                    <a:pt x="4191" y="2096"/>
                  </a:moveTo>
                  <a:cubicBezTo>
                    <a:pt x="4191" y="3239"/>
                    <a:pt x="3238" y="4191"/>
                    <a:pt x="2096" y="4191"/>
                  </a:cubicBezTo>
                  <a:cubicBezTo>
                    <a:pt x="952" y="4191"/>
                    <a:pt x="0" y="3239"/>
                    <a:pt x="0" y="2096"/>
                  </a:cubicBezTo>
                  <a:cubicBezTo>
                    <a:pt x="0" y="953"/>
                    <a:pt x="952" y="0"/>
                    <a:pt x="2096" y="0"/>
                  </a:cubicBezTo>
                  <a:cubicBezTo>
                    <a:pt x="3334" y="0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3F4851E7-FF71-2E63-52F4-6779D3A3B931}"/>
                </a:ext>
              </a:extLst>
            </p:cNvPr>
            <p:cNvSpPr/>
            <p:nvPr/>
          </p:nvSpPr>
          <p:spPr>
            <a:xfrm>
              <a:off x="5445206" y="2898729"/>
              <a:ext cx="11620" cy="11620"/>
            </a:xfrm>
            <a:custGeom>
              <a:avLst/>
              <a:gdLst>
                <a:gd name="connsiteX0" fmla="*/ 11621 w 11620"/>
                <a:gd name="connsiteY0" fmla="*/ 5810 h 11620"/>
                <a:gd name="connsiteX1" fmla="*/ 5810 w 11620"/>
                <a:gd name="connsiteY1" fmla="*/ 11621 h 11620"/>
                <a:gd name="connsiteX2" fmla="*/ 0 w 11620"/>
                <a:gd name="connsiteY2" fmla="*/ 5810 h 11620"/>
                <a:gd name="connsiteX3" fmla="*/ 5810 w 11620"/>
                <a:gd name="connsiteY3" fmla="*/ 0 h 11620"/>
                <a:gd name="connsiteX4" fmla="*/ 11621 w 11620"/>
                <a:gd name="connsiteY4" fmla="*/ 5810 h 11620"/>
                <a:gd name="connsiteX5" fmla="*/ 11621 w 11620"/>
                <a:gd name="connsiteY5" fmla="*/ 5810 h 11620"/>
                <a:gd name="connsiteX6" fmla="*/ 11049 w 11620"/>
                <a:gd name="connsiteY6" fmla="*/ 5810 h 11620"/>
                <a:gd name="connsiteX7" fmla="*/ 5810 w 11620"/>
                <a:gd name="connsiteY7" fmla="*/ 11049 h 11620"/>
                <a:gd name="connsiteX8" fmla="*/ 571 w 11620"/>
                <a:gd name="connsiteY8" fmla="*/ 5810 h 11620"/>
                <a:gd name="connsiteX9" fmla="*/ 5810 w 11620"/>
                <a:gd name="connsiteY9" fmla="*/ 571 h 11620"/>
                <a:gd name="connsiteX10" fmla="*/ 11049 w 11620"/>
                <a:gd name="connsiteY10" fmla="*/ 5810 h 11620"/>
                <a:gd name="connsiteX11" fmla="*/ 11049 w 11620"/>
                <a:gd name="connsiteY11" fmla="*/ 581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" h="11620">
                  <a:moveTo>
                    <a:pt x="11621" y="5810"/>
                  </a:moveTo>
                  <a:cubicBezTo>
                    <a:pt x="11621" y="8954"/>
                    <a:pt x="9049" y="11621"/>
                    <a:pt x="5810" y="11621"/>
                  </a:cubicBezTo>
                  <a:cubicBezTo>
                    <a:pt x="2572" y="11621"/>
                    <a:pt x="0" y="9049"/>
                    <a:pt x="0" y="5810"/>
                  </a:cubicBezTo>
                  <a:cubicBezTo>
                    <a:pt x="0" y="2667"/>
                    <a:pt x="2572" y="0"/>
                    <a:pt x="5810" y="0"/>
                  </a:cubicBezTo>
                  <a:cubicBezTo>
                    <a:pt x="8954" y="0"/>
                    <a:pt x="11621" y="2572"/>
                    <a:pt x="11621" y="5810"/>
                  </a:cubicBezTo>
                  <a:lnTo>
                    <a:pt x="11621" y="5810"/>
                  </a:lnTo>
                  <a:close/>
                  <a:moveTo>
                    <a:pt x="11049" y="5810"/>
                  </a:moveTo>
                  <a:cubicBezTo>
                    <a:pt x="11049" y="8668"/>
                    <a:pt x="8668" y="11049"/>
                    <a:pt x="5810" y="11049"/>
                  </a:cubicBezTo>
                  <a:cubicBezTo>
                    <a:pt x="2858" y="11049"/>
                    <a:pt x="571" y="8668"/>
                    <a:pt x="571" y="5810"/>
                  </a:cubicBezTo>
                  <a:cubicBezTo>
                    <a:pt x="571" y="2953"/>
                    <a:pt x="2953" y="571"/>
                    <a:pt x="5810" y="571"/>
                  </a:cubicBezTo>
                  <a:cubicBezTo>
                    <a:pt x="8763" y="476"/>
                    <a:pt x="11049" y="2858"/>
                    <a:pt x="11049" y="5810"/>
                  </a:cubicBezTo>
                  <a:lnTo>
                    <a:pt x="11049" y="5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F482A1DB-09DD-5248-C971-199E9D1ADF6A}"/>
                </a:ext>
              </a:extLst>
            </p:cNvPr>
            <p:cNvSpPr/>
            <p:nvPr/>
          </p:nvSpPr>
          <p:spPr>
            <a:xfrm>
              <a:off x="5450825" y="2905492"/>
              <a:ext cx="476" cy="4381"/>
            </a:xfrm>
            <a:custGeom>
              <a:avLst/>
              <a:gdLst>
                <a:gd name="connsiteX0" fmla="*/ 476 w 476"/>
                <a:gd name="connsiteY0" fmla="*/ 4382 h 4381"/>
                <a:gd name="connsiteX1" fmla="*/ 476 w 476"/>
                <a:gd name="connsiteY1" fmla="*/ 0 h 4381"/>
                <a:gd name="connsiteX2" fmla="*/ 0 w 476"/>
                <a:gd name="connsiteY2" fmla="*/ 0 h 4381"/>
                <a:gd name="connsiteX3" fmla="*/ 0 w 476"/>
                <a:gd name="connsiteY3" fmla="*/ 4382 h 4381"/>
                <a:gd name="connsiteX4" fmla="*/ 476 w 476"/>
                <a:gd name="connsiteY4" fmla="*/ 4382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" h="4381">
                  <a:moveTo>
                    <a:pt x="476" y="4382"/>
                  </a:moveTo>
                  <a:lnTo>
                    <a:pt x="476" y="0"/>
                  </a:lnTo>
                  <a:lnTo>
                    <a:pt x="0" y="0"/>
                  </a:lnTo>
                  <a:lnTo>
                    <a:pt x="0" y="4382"/>
                  </a:lnTo>
                  <a:lnTo>
                    <a:pt x="476" y="4382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3F88DF8D-EE47-E7CC-5AF0-AEBF6F5C40BF}"/>
                </a:ext>
              </a:extLst>
            </p:cNvPr>
            <p:cNvSpPr/>
            <p:nvPr/>
          </p:nvSpPr>
          <p:spPr>
            <a:xfrm>
              <a:off x="5445587" y="2904539"/>
              <a:ext cx="4762" cy="1333"/>
            </a:xfrm>
            <a:custGeom>
              <a:avLst/>
              <a:gdLst>
                <a:gd name="connsiteX0" fmla="*/ 0 w 4762"/>
                <a:gd name="connsiteY0" fmla="*/ 1333 h 1333"/>
                <a:gd name="connsiteX1" fmla="*/ 4763 w 4762"/>
                <a:gd name="connsiteY1" fmla="*/ 476 h 1333"/>
                <a:gd name="connsiteX2" fmla="*/ 4667 w 4762"/>
                <a:gd name="connsiteY2" fmla="*/ 0 h 1333"/>
                <a:gd name="connsiteX3" fmla="*/ 0 w 4762"/>
                <a:gd name="connsiteY3" fmla="*/ 857 h 1333"/>
                <a:gd name="connsiteX4" fmla="*/ 0 w 4762"/>
                <a:gd name="connsiteY4" fmla="*/ 1333 h 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" h="1333">
                  <a:moveTo>
                    <a:pt x="0" y="1333"/>
                  </a:moveTo>
                  <a:lnTo>
                    <a:pt x="4763" y="476"/>
                  </a:lnTo>
                  <a:lnTo>
                    <a:pt x="4667" y="0"/>
                  </a:lnTo>
                  <a:lnTo>
                    <a:pt x="0" y="857"/>
                  </a:lnTo>
                  <a:lnTo>
                    <a:pt x="0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04" name="Freihandform: Form 703">
              <a:extLst>
                <a:ext uri="{FF2B5EF4-FFF2-40B4-BE49-F238E27FC236}">
                  <a16:creationId xmlns:a16="http://schemas.microsoft.com/office/drawing/2014/main" id="{9CA08F76-ABE0-5796-2B74-339B4D0047C1}"/>
                </a:ext>
              </a:extLst>
            </p:cNvPr>
            <p:cNvSpPr/>
            <p:nvPr/>
          </p:nvSpPr>
          <p:spPr>
            <a:xfrm>
              <a:off x="5447301" y="2900158"/>
              <a:ext cx="3333" cy="3524"/>
            </a:xfrm>
            <a:custGeom>
              <a:avLst/>
              <a:gdLst>
                <a:gd name="connsiteX0" fmla="*/ 0 w 3333"/>
                <a:gd name="connsiteY0" fmla="*/ 381 h 3524"/>
                <a:gd name="connsiteX1" fmla="*/ 2953 w 3333"/>
                <a:gd name="connsiteY1" fmla="*/ 3524 h 3524"/>
                <a:gd name="connsiteX2" fmla="*/ 3334 w 3333"/>
                <a:gd name="connsiteY2" fmla="*/ 3239 h 3524"/>
                <a:gd name="connsiteX3" fmla="*/ 381 w 3333"/>
                <a:gd name="connsiteY3" fmla="*/ 0 h 3524"/>
                <a:gd name="connsiteX4" fmla="*/ 0 w 3333"/>
                <a:gd name="connsiteY4" fmla="*/ 381 h 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524">
                  <a:moveTo>
                    <a:pt x="0" y="381"/>
                  </a:moveTo>
                  <a:lnTo>
                    <a:pt x="2953" y="3524"/>
                  </a:lnTo>
                  <a:lnTo>
                    <a:pt x="3334" y="3239"/>
                  </a:lnTo>
                  <a:lnTo>
                    <a:pt x="381" y="0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05" name="Freihandform: Form 704">
              <a:extLst>
                <a:ext uri="{FF2B5EF4-FFF2-40B4-BE49-F238E27FC236}">
                  <a16:creationId xmlns:a16="http://schemas.microsoft.com/office/drawing/2014/main" id="{FF386B71-D8FC-EE14-06DD-1960DD6C2C63}"/>
                </a:ext>
              </a:extLst>
            </p:cNvPr>
            <p:cNvSpPr/>
            <p:nvPr/>
          </p:nvSpPr>
          <p:spPr>
            <a:xfrm>
              <a:off x="5451397" y="2899681"/>
              <a:ext cx="2666" cy="3905"/>
            </a:xfrm>
            <a:custGeom>
              <a:avLst/>
              <a:gdLst>
                <a:gd name="connsiteX0" fmla="*/ 2286 w 2666"/>
                <a:gd name="connsiteY0" fmla="*/ 0 h 3905"/>
                <a:gd name="connsiteX1" fmla="*/ 0 w 2666"/>
                <a:gd name="connsiteY1" fmla="*/ 3715 h 3905"/>
                <a:gd name="connsiteX2" fmla="*/ 381 w 2666"/>
                <a:gd name="connsiteY2" fmla="*/ 3905 h 3905"/>
                <a:gd name="connsiteX3" fmla="*/ 2667 w 2666"/>
                <a:gd name="connsiteY3" fmla="*/ 191 h 3905"/>
                <a:gd name="connsiteX4" fmla="*/ 2286 w 2666"/>
                <a:gd name="connsiteY4" fmla="*/ 0 h 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3905">
                  <a:moveTo>
                    <a:pt x="2286" y="0"/>
                  </a:moveTo>
                  <a:lnTo>
                    <a:pt x="0" y="3715"/>
                  </a:lnTo>
                  <a:lnTo>
                    <a:pt x="381" y="3905"/>
                  </a:lnTo>
                  <a:lnTo>
                    <a:pt x="2667" y="191"/>
                  </a:lnTo>
                  <a:lnTo>
                    <a:pt x="2286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06" name="Freihandform: Form 705">
              <a:extLst>
                <a:ext uri="{FF2B5EF4-FFF2-40B4-BE49-F238E27FC236}">
                  <a16:creationId xmlns:a16="http://schemas.microsoft.com/office/drawing/2014/main" id="{2821E65F-6F34-33F1-7444-9CBF071D6A1D}"/>
                </a:ext>
              </a:extLst>
            </p:cNvPr>
            <p:cNvSpPr/>
            <p:nvPr/>
          </p:nvSpPr>
          <p:spPr>
            <a:xfrm>
              <a:off x="5452064" y="2904539"/>
              <a:ext cx="4286" cy="1619"/>
            </a:xfrm>
            <a:custGeom>
              <a:avLst/>
              <a:gdLst>
                <a:gd name="connsiteX0" fmla="*/ 4286 w 4286"/>
                <a:gd name="connsiteY0" fmla="*/ 1143 h 1619"/>
                <a:gd name="connsiteX1" fmla="*/ 95 w 4286"/>
                <a:gd name="connsiteY1" fmla="*/ 0 h 1619"/>
                <a:gd name="connsiteX2" fmla="*/ 0 w 4286"/>
                <a:gd name="connsiteY2" fmla="*/ 381 h 1619"/>
                <a:gd name="connsiteX3" fmla="*/ 4191 w 4286"/>
                <a:gd name="connsiteY3" fmla="*/ 1619 h 1619"/>
                <a:gd name="connsiteX4" fmla="*/ 4286 w 4286"/>
                <a:gd name="connsiteY4" fmla="*/ 1143 h 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" h="1619">
                  <a:moveTo>
                    <a:pt x="4286" y="1143"/>
                  </a:moveTo>
                  <a:lnTo>
                    <a:pt x="95" y="0"/>
                  </a:lnTo>
                  <a:lnTo>
                    <a:pt x="0" y="381"/>
                  </a:lnTo>
                  <a:lnTo>
                    <a:pt x="4191" y="1619"/>
                  </a:lnTo>
                  <a:lnTo>
                    <a:pt x="4286" y="1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07" name="Freihandform: Form 706">
              <a:extLst>
                <a:ext uri="{FF2B5EF4-FFF2-40B4-BE49-F238E27FC236}">
                  <a16:creationId xmlns:a16="http://schemas.microsoft.com/office/drawing/2014/main" id="{FC6398C3-AE07-294C-1967-C4245CC386E6}"/>
                </a:ext>
              </a:extLst>
            </p:cNvPr>
            <p:cNvSpPr/>
            <p:nvPr/>
          </p:nvSpPr>
          <p:spPr>
            <a:xfrm>
              <a:off x="5449778" y="2903015"/>
              <a:ext cx="2666" cy="2666"/>
            </a:xfrm>
            <a:custGeom>
              <a:avLst/>
              <a:gdLst>
                <a:gd name="connsiteX0" fmla="*/ 2667 w 2666"/>
                <a:gd name="connsiteY0" fmla="*/ 1333 h 2666"/>
                <a:gd name="connsiteX1" fmla="*/ 1333 w 2666"/>
                <a:gd name="connsiteY1" fmla="*/ 2667 h 2666"/>
                <a:gd name="connsiteX2" fmla="*/ 0 w 2666"/>
                <a:gd name="connsiteY2" fmla="*/ 1333 h 2666"/>
                <a:gd name="connsiteX3" fmla="*/ 1333 w 2666"/>
                <a:gd name="connsiteY3" fmla="*/ 0 h 2666"/>
                <a:gd name="connsiteX4" fmla="*/ 2667 w 2666"/>
                <a:gd name="connsiteY4" fmla="*/ 1333 h 2666"/>
                <a:gd name="connsiteX5" fmla="*/ 2667 w 2666"/>
                <a:gd name="connsiteY5" fmla="*/ 133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" h="2666">
                  <a:moveTo>
                    <a:pt x="2667" y="1333"/>
                  </a:moveTo>
                  <a:cubicBezTo>
                    <a:pt x="2667" y="2096"/>
                    <a:pt x="2096" y="2667"/>
                    <a:pt x="1333" y="2667"/>
                  </a:cubicBezTo>
                  <a:cubicBezTo>
                    <a:pt x="667" y="2667"/>
                    <a:pt x="0" y="2096"/>
                    <a:pt x="0" y="1333"/>
                  </a:cubicBezTo>
                  <a:cubicBezTo>
                    <a:pt x="0" y="571"/>
                    <a:pt x="571" y="0"/>
                    <a:pt x="1333" y="0"/>
                  </a:cubicBezTo>
                  <a:cubicBezTo>
                    <a:pt x="2096" y="95"/>
                    <a:pt x="2667" y="667"/>
                    <a:pt x="2667" y="1333"/>
                  </a:cubicBezTo>
                  <a:lnTo>
                    <a:pt x="2667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08" name="Freihandform: Form 707">
              <a:extLst>
                <a:ext uri="{FF2B5EF4-FFF2-40B4-BE49-F238E27FC236}">
                  <a16:creationId xmlns:a16="http://schemas.microsoft.com/office/drawing/2014/main" id="{1E26A72D-CD68-DA6E-A854-B6BC52DECD9A}"/>
                </a:ext>
              </a:extLst>
            </p:cNvPr>
            <p:cNvSpPr/>
            <p:nvPr/>
          </p:nvSpPr>
          <p:spPr>
            <a:xfrm>
              <a:off x="5498355" y="2898443"/>
              <a:ext cx="11620" cy="11620"/>
            </a:xfrm>
            <a:custGeom>
              <a:avLst/>
              <a:gdLst>
                <a:gd name="connsiteX0" fmla="*/ 11621 w 11620"/>
                <a:gd name="connsiteY0" fmla="*/ 5810 h 11620"/>
                <a:gd name="connsiteX1" fmla="*/ 5810 w 11620"/>
                <a:gd name="connsiteY1" fmla="*/ 11621 h 11620"/>
                <a:gd name="connsiteX2" fmla="*/ 0 w 11620"/>
                <a:gd name="connsiteY2" fmla="*/ 5810 h 11620"/>
                <a:gd name="connsiteX3" fmla="*/ 5810 w 11620"/>
                <a:gd name="connsiteY3" fmla="*/ 0 h 11620"/>
                <a:gd name="connsiteX4" fmla="*/ 11621 w 11620"/>
                <a:gd name="connsiteY4" fmla="*/ 5810 h 11620"/>
                <a:gd name="connsiteX5" fmla="*/ 11621 w 11620"/>
                <a:gd name="connsiteY5" fmla="*/ 5810 h 11620"/>
                <a:gd name="connsiteX6" fmla="*/ 11144 w 11620"/>
                <a:gd name="connsiteY6" fmla="*/ 5810 h 11620"/>
                <a:gd name="connsiteX7" fmla="*/ 5905 w 11620"/>
                <a:gd name="connsiteY7" fmla="*/ 11049 h 11620"/>
                <a:gd name="connsiteX8" fmla="*/ 667 w 11620"/>
                <a:gd name="connsiteY8" fmla="*/ 5810 h 11620"/>
                <a:gd name="connsiteX9" fmla="*/ 5905 w 11620"/>
                <a:gd name="connsiteY9" fmla="*/ 571 h 11620"/>
                <a:gd name="connsiteX10" fmla="*/ 11144 w 11620"/>
                <a:gd name="connsiteY10" fmla="*/ 5810 h 11620"/>
                <a:gd name="connsiteX11" fmla="*/ 11144 w 11620"/>
                <a:gd name="connsiteY11" fmla="*/ 581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" h="11620">
                  <a:moveTo>
                    <a:pt x="11621" y="5810"/>
                  </a:moveTo>
                  <a:cubicBezTo>
                    <a:pt x="11621" y="8954"/>
                    <a:pt x="9049" y="11621"/>
                    <a:pt x="5810" y="11621"/>
                  </a:cubicBezTo>
                  <a:cubicBezTo>
                    <a:pt x="2572" y="11621"/>
                    <a:pt x="0" y="9049"/>
                    <a:pt x="0" y="5810"/>
                  </a:cubicBezTo>
                  <a:cubicBezTo>
                    <a:pt x="0" y="2572"/>
                    <a:pt x="2572" y="0"/>
                    <a:pt x="5810" y="0"/>
                  </a:cubicBezTo>
                  <a:cubicBezTo>
                    <a:pt x="9049" y="0"/>
                    <a:pt x="11621" y="2667"/>
                    <a:pt x="11621" y="5810"/>
                  </a:cubicBezTo>
                  <a:lnTo>
                    <a:pt x="11621" y="5810"/>
                  </a:lnTo>
                  <a:close/>
                  <a:moveTo>
                    <a:pt x="11144" y="5810"/>
                  </a:moveTo>
                  <a:cubicBezTo>
                    <a:pt x="11144" y="8668"/>
                    <a:pt x="8763" y="11049"/>
                    <a:pt x="5905" y="11049"/>
                  </a:cubicBezTo>
                  <a:cubicBezTo>
                    <a:pt x="2953" y="11049"/>
                    <a:pt x="667" y="8668"/>
                    <a:pt x="667" y="5810"/>
                  </a:cubicBezTo>
                  <a:cubicBezTo>
                    <a:pt x="667" y="2858"/>
                    <a:pt x="3048" y="571"/>
                    <a:pt x="5905" y="571"/>
                  </a:cubicBezTo>
                  <a:cubicBezTo>
                    <a:pt x="8763" y="571"/>
                    <a:pt x="11144" y="2953"/>
                    <a:pt x="11144" y="5810"/>
                  </a:cubicBezTo>
                  <a:lnTo>
                    <a:pt x="11144" y="5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09" name="Freihandform: Form 708">
              <a:extLst>
                <a:ext uri="{FF2B5EF4-FFF2-40B4-BE49-F238E27FC236}">
                  <a16:creationId xmlns:a16="http://schemas.microsoft.com/office/drawing/2014/main" id="{B4894E55-6812-667E-D37B-D6B573E967AE}"/>
                </a:ext>
              </a:extLst>
            </p:cNvPr>
            <p:cNvSpPr/>
            <p:nvPr/>
          </p:nvSpPr>
          <p:spPr>
            <a:xfrm>
              <a:off x="5503975" y="2905301"/>
              <a:ext cx="476" cy="4286"/>
            </a:xfrm>
            <a:custGeom>
              <a:avLst/>
              <a:gdLst>
                <a:gd name="connsiteX0" fmla="*/ 476 w 476"/>
                <a:gd name="connsiteY0" fmla="*/ 4286 h 4286"/>
                <a:gd name="connsiteX1" fmla="*/ 476 w 476"/>
                <a:gd name="connsiteY1" fmla="*/ 0 h 4286"/>
                <a:gd name="connsiteX2" fmla="*/ 0 w 476"/>
                <a:gd name="connsiteY2" fmla="*/ 0 h 4286"/>
                <a:gd name="connsiteX3" fmla="*/ 0 w 476"/>
                <a:gd name="connsiteY3" fmla="*/ 4286 h 4286"/>
                <a:gd name="connsiteX4" fmla="*/ 476 w 476"/>
                <a:gd name="connsiteY4" fmla="*/ 4286 h 4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" h="4286">
                  <a:moveTo>
                    <a:pt x="476" y="4286"/>
                  </a:moveTo>
                  <a:lnTo>
                    <a:pt x="476" y="0"/>
                  </a:lnTo>
                  <a:lnTo>
                    <a:pt x="0" y="0"/>
                  </a:lnTo>
                  <a:lnTo>
                    <a:pt x="0" y="4286"/>
                  </a:lnTo>
                  <a:lnTo>
                    <a:pt x="476" y="428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0" name="Freihandform: Form 709">
              <a:extLst>
                <a:ext uri="{FF2B5EF4-FFF2-40B4-BE49-F238E27FC236}">
                  <a16:creationId xmlns:a16="http://schemas.microsoft.com/office/drawing/2014/main" id="{037702EC-0562-DD56-BCD4-C0222863AC88}"/>
                </a:ext>
              </a:extLst>
            </p:cNvPr>
            <p:cNvSpPr/>
            <p:nvPr/>
          </p:nvSpPr>
          <p:spPr>
            <a:xfrm>
              <a:off x="5498736" y="2904254"/>
              <a:ext cx="4762" cy="1428"/>
            </a:xfrm>
            <a:custGeom>
              <a:avLst/>
              <a:gdLst>
                <a:gd name="connsiteX0" fmla="*/ 95 w 4762"/>
                <a:gd name="connsiteY0" fmla="*/ 1429 h 1428"/>
                <a:gd name="connsiteX1" fmla="*/ 4763 w 4762"/>
                <a:gd name="connsiteY1" fmla="*/ 476 h 1428"/>
                <a:gd name="connsiteX2" fmla="*/ 4667 w 4762"/>
                <a:gd name="connsiteY2" fmla="*/ 0 h 1428"/>
                <a:gd name="connsiteX3" fmla="*/ 0 w 4762"/>
                <a:gd name="connsiteY3" fmla="*/ 952 h 1428"/>
                <a:gd name="connsiteX4" fmla="*/ 95 w 4762"/>
                <a:gd name="connsiteY4" fmla="*/ 1429 h 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" h="1428">
                  <a:moveTo>
                    <a:pt x="95" y="1429"/>
                  </a:moveTo>
                  <a:lnTo>
                    <a:pt x="4763" y="476"/>
                  </a:lnTo>
                  <a:lnTo>
                    <a:pt x="4667" y="0"/>
                  </a:lnTo>
                  <a:lnTo>
                    <a:pt x="0" y="952"/>
                  </a:lnTo>
                  <a:lnTo>
                    <a:pt x="95" y="142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1" name="Freihandform: Form 710">
              <a:extLst>
                <a:ext uri="{FF2B5EF4-FFF2-40B4-BE49-F238E27FC236}">
                  <a16:creationId xmlns:a16="http://schemas.microsoft.com/office/drawing/2014/main" id="{FD25FED2-B1D2-4181-56F9-9BB663FE6DCA}"/>
                </a:ext>
              </a:extLst>
            </p:cNvPr>
            <p:cNvSpPr/>
            <p:nvPr/>
          </p:nvSpPr>
          <p:spPr>
            <a:xfrm>
              <a:off x="5500451" y="2899967"/>
              <a:ext cx="3333" cy="3524"/>
            </a:xfrm>
            <a:custGeom>
              <a:avLst/>
              <a:gdLst>
                <a:gd name="connsiteX0" fmla="*/ 0 w 3333"/>
                <a:gd name="connsiteY0" fmla="*/ 286 h 3524"/>
                <a:gd name="connsiteX1" fmla="*/ 2953 w 3333"/>
                <a:gd name="connsiteY1" fmla="*/ 3524 h 3524"/>
                <a:gd name="connsiteX2" fmla="*/ 3334 w 3333"/>
                <a:gd name="connsiteY2" fmla="*/ 3143 h 3524"/>
                <a:gd name="connsiteX3" fmla="*/ 381 w 3333"/>
                <a:gd name="connsiteY3" fmla="*/ 0 h 3524"/>
                <a:gd name="connsiteX4" fmla="*/ 0 w 3333"/>
                <a:gd name="connsiteY4" fmla="*/ 286 h 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524">
                  <a:moveTo>
                    <a:pt x="0" y="286"/>
                  </a:moveTo>
                  <a:lnTo>
                    <a:pt x="2953" y="3524"/>
                  </a:lnTo>
                  <a:lnTo>
                    <a:pt x="3334" y="3143"/>
                  </a:lnTo>
                  <a:lnTo>
                    <a:pt x="381" y="0"/>
                  </a:lnTo>
                  <a:lnTo>
                    <a:pt x="0" y="28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2" name="Freihandform: Form 711">
              <a:extLst>
                <a:ext uri="{FF2B5EF4-FFF2-40B4-BE49-F238E27FC236}">
                  <a16:creationId xmlns:a16="http://schemas.microsoft.com/office/drawing/2014/main" id="{215F45B8-D5F0-BEE6-52CB-78AD17974EE1}"/>
                </a:ext>
              </a:extLst>
            </p:cNvPr>
            <p:cNvSpPr/>
            <p:nvPr/>
          </p:nvSpPr>
          <p:spPr>
            <a:xfrm>
              <a:off x="5504546" y="2899396"/>
              <a:ext cx="2666" cy="4000"/>
            </a:xfrm>
            <a:custGeom>
              <a:avLst/>
              <a:gdLst>
                <a:gd name="connsiteX0" fmla="*/ 2286 w 2666"/>
                <a:gd name="connsiteY0" fmla="*/ 0 h 4000"/>
                <a:gd name="connsiteX1" fmla="*/ 0 w 2666"/>
                <a:gd name="connsiteY1" fmla="*/ 3715 h 4000"/>
                <a:gd name="connsiteX2" fmla="*/ 476 w 2666"/>
                <a:gd name="connsiteY2" fmla="*/ 4001 h 4000"/>
                <a:gd name="connsiteX3" fmla="*/ 2667 w 2666"/>
                <a:gd name="connsiteY3" fmla="*/ 286 h 4000"/>
                <a:gd name="connsiteX4" fmla="*/ 2286 w 2666"/>
                <a:gd name="connsiteY4" fmla="*/ 0 h 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4000">
                  <a:moveTo>
                    <a:pt x="2286" y="0"/>
                  </a:moveTo>
                  <a:lnTo>
                    <a:pt x="0" y="3715"/>
                  </a:lnTo>
                  <a:lnTo>
                    <a:pt x="476" y="4001"/>
                  </a:lnTo>
                  <a:lnTo>
                    <a:pt x="2667" y="286"/>
                  </a:lnTo>
                  <a:lnTo>
                    <a:pt x="2286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3" name="Freihandform: Form 712">
              <a:extLst>
                <a:ext uri="{FF2B5EF4-FFF2-40B4-BE49-F238E27FC236}">
                  <a16:creationId xmlns:a16="http://schemas.microsoft.com/office/drawing/2014/main" id="{2BECD66A-C6B5-1217-262C-21FF835DDC64}"/>
                </a:ext>
              </a:extLst>
            </p:cNvPr>
            <p:cNvSpPr/>
            <p:nvPr/>
          </p:nvSpPr>
          <p:spPr>
            <a:xfrm>
              <a:off x="5505213" y="2904254"/>
              <a:ext cx="4381" cy="1619"/>
            </a:xfrm>
            <a:custGeom>
              <a:avLst/>
              <a:gdLst>
                <a:gd name="connsiteX0" fmla="*/ 4381 w 4381"/>
                <a:gd name="connsiteY0" fmla="*/ 1143 h 1619"/>
                <a:gd name="connsiteX1" fmla="*/ 190 w 4381"/>
                <a:gd name="connsiteY1" fmla="*/ 0 h 1619"/>
                <a:gd name="connsiteX2" fmla="*/ 0 w 4381"/>
                <a:gd name="connsiteY2" fmla="*/ 476 h 1619"/>
                <a:gd name="connsiteX3" fmla="*/ 4191 w 4381"/>
                <a:gd name="connsiteY3" fmla="*/ 1619 h 1619"/>
                <a:gd name="connsiteX4" fmla="*/ 4381 w 4381"/>
                <a:gd name="connsiteY4" fmla="*/ 1143 h 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1" h="1619">
                  <a:moveTo>
                    <a:pt x="4381" y="1143"/>
                  </a:moveTo>
                  <a:lnTo>
                    <a:pt x="190" y="0"/>
                  </a:lnTo>
                  <a:lnTo>
                    <a:pt x="0" y="476"/>
                  </a:lnTo>
                  <a:lnTo>
                    <a:pt x="4191" y="1619"/>
                  </a:lnTo>
                  <a:lnTo>
                    <a:pt x="4381" y="1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4" name="Freihandform: Form 713">
              <a:extLst>
                <a:ext uri="{FF2B5EF4-FFF2-40B4-BE49-F238E27FC236}">
                  <a16:creationId xmlns:a16="http://schemas.microsoft.com/office/drawing/2014/main" id="{674A72E6-6277-D990-1FC0-875EB373B094}"/>
                </a:ext>
              </a:extLst>
            </p:cNvPr>
            <p:cNvSpPr/>
            <p:nvPr/>
          </p:nvSpPr>
          <p:spPr>
            <a:xfrm>
              <a:off x="5502927" y="2902825"/>
              <a:ext cx="2666" cy="2666"/>
            </a:xfrm>
            <a:custGeom>
              <a:avLst/>
              <a:gdLst>
                <a:gd name="connsiteX0" fmla="*/ 2667 w 2666"/>
                <a:gd name="connsiteY0" fmla="*/ 1333 h 2666"/>
                <a:gd name="connsiteX1" fmla="*/ 1333 w 2666"/>
                <a:gd name="connsiteY1" fmla="*/ 2667 h 2666"/>
                <a:gd name="connsiteX2" fmla="*/ 0 w 2666"/>
                <a:gd name="connsiteY2" fmla="*/ 1333 h 2666"/>
                <a:gd name="connsiteX3" fmla="*/ 1333 w 2666"/>
                <a:gd name="connsiteY3" fmla="*/ 0 h 2666"/>
                <a:gd name="connsiteX4" fmla="*/ 2667 w 2666"/>
                <a:gd name="connsiteY4" fmla="*/ 1333 h 2666"/>
                <a:gd name="connsiteX5" fmla="*/ 2667 w 2666"/>
                <a:gd name="connsiteY5" fmla="*/ 133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" h="2666">
                  <a:moveTo>
                    <a:pt x="2667" y="1333"/>
                  </a:moveTo>
                  <a:cubicBezTo>
                    <a:pt x="2667" y="2096"/>
                    <a:pt x="2096" y="2667"/>
                    <a:pt x="1333" y="2667"/>
                  </a:cubicBezTo>
                  <a:cubicBezTo>
                    <a:pt x="571" y="2667"/>
                    <a:pt x="0" y="2096"/>
                    <a:pt x="0" y="1333"/>
                  </a:cubicBezTo>
                  <a:cubicBezTo>
                    <a:pt x="0" y="572"/>
                    <a:pt x="571" y="0"/>
                    <a:pt x="1333" y="0"/>
                  </a:cubicBezTo>
                  <a:cubicBezTo>
                    <a:pt x="2096" y="0"/>
                    <a:pt x="2667" y="572"/>
                    <a:pt x="2667" y="1333"/>
                  </a:cubicBezTo>
                  <a:lnTo>
                    <a:pt x="2667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5" name="Freihandform: Form 714">
              <a:extLst>
                <a:ext uri="{FF2B5EF4-FFF2-40B4-BE49-F238E27FC236}">
                  <a16:creationId xmlns:a16="http://schemas.microsoft.com/office/drawing/2014/main" id="{9A2D31CF-81F1-C39E-10A9-B80CDF9ED02D}"/>
                </a:ext>
              </a:extLst>
            </p:cNvPr>
            <p:cNvSpPr/>
            <p:nvPr/>
          </p:nvSpPr>
          <p:spPr>
            <a:xfrm>
              <a:off x="5473114" y="2900729"/>
              <a:ext cx="8191" cy="8191"/>
            </a:xfrm>
            <a:custGeom>
              <a:avLst/>
              <a:gdLst>
                <a:gd name="connsiteX0" fmla="*/ 8192 w 8191"/>
                <a:gd name="connsiteY0" fmla="*/ 4096 h 8191"/>
                <a:gd name="connsiteX1" fmla="*/ 4096 w 8191"/>
                <a:gd name="connsiteY1" fmla="*/ 8192 h 8191"/>
                <a:gd name="connsiteX2" fmla="*/ 0 w 8191"/>
                <a:gd name="connsiteY2" fmla="*/ 4096 h 8191"/>
                <a:gd name="connsiteX3" fmla="*/ 4096 w 8191"/>
                <a:gd name="connsiteY3" fmla="*/ 0 h 8191"/>
                <a:gd name="connsiteX4" fmla="*/ 8192 w 8191"/>
                <a:gd name="connsiteY4" fmla="*/ 4096 h 8191"/>
                <a:gd name="connsiteX5" fmla="*/ 8192 w 8191"/>
                <a:gd name="connsiteY5" fmla="*/ 4096 h 8191"/>
                <a:gd name="connsiteX6" fmla="*/ 7811 w 8191"/>
                <a:gd name="connsiteY6" fmla="*/ 4096 h 8191"/>
                <a:gd name="connsiteX7" fmla="*/ 4096 w 8191"/>
                <a:gd name="connsiteY7" fmla="*/ 7811 h 8191"/>
                <a:gd name="connsiteX8" fmla="*/ 381 w 8191"/>
                <a:gd name="connsiteY8" fmla="*/ 4096 h 8191"/>
                <a:gd name="connsiteX9" fmla="*/ 4096 w 8191"/>
                <a:gd name="connsiteY9" fmla="*/ 381 h 8191"/>
                <a:gd name="connsiteX10" fmla="*/ 7811 w 8191"/>
                <a:gd name="connsiteY10" fmla="*/ 4096 h 8191"/>
                <a:gd name="connsiteX11" fmla="*/ 7811 w 8191"/>
                <a:gd name="connsiteY11" fmla="*/ 4096 h 8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91" h="8191">
                  <a:moveTo>
                    <a:pt x="8192" y="4096"/>
                  </a:moveTo>
                  <a:cubicBezTo>
                    <a:pt x="8192" y="6382"/>
                    <a:pt x="6382" y="8192"/>
                    <a:pt x="4096" y="8192"/>
                  </a:cubicBezTo>
                  <a:cubicBezTo>
                    <a:pt x="1810" y="8192"/>
                    <a:pt x="0" y="6382"/>
                    <a:pt x="0" y="4096"/>
                  </a:cubicBezTo>
                  <a:cubicBezTo>
                    <a:pt x="0" y="1810"/>
                    <a:pt x="1810" y="0"/>
                    <a:pt x="4096" y="0"/>
                  </a:cubicBezTo>
                  <a:cubicBezTo>
                    <a:pt x="6382" y="0"/>
                    <a:pt x="8192" y="1810"/>
                    <a:pt x="8192" y="4096"/>
                  </a:cubicBezTo>
                  <a:lnTo>
                    <a:pt x="8192" y="4096"/>
                  </a:lnTo>
                  <a:close/>
                  <a:moveTo>
                    <a:pt x="7811" y="4096"/>
                  </a:moveTo>
                  <a:cubicBezTo>
                    <a:pt x="7811" y="6096"/>
                    <a:pt x="6096" y="7811"/>
                    <a:pt x="4096" y="7811"/>
                  </a:cubicBezTo>
                  <a:cubicBezTo>
                    <a:pt x="2096" y="7811"/>
                    <a:pt x="381" y="6096"/>
                    <a:pt x="381" y="4096"/>
                  </a:cubicBezTo>
                  <a:cubicBezTo>
                    <a:pt x="381" y="2000"/>
                    <a:pt x="2096" y="381"/>
                    <a:pt x="4096" y="381"/>
                  </a:cubicBezTo>
                  <a:cubicBezTo>
                    <a:pt x="6191" y="381"/>
                    <a:pt x="7811" y="2000"/>
                    <a:pt x="7811" y="4096"/>
                  </a:cubicBezTo>
                  <a:lnTo>
                    <a:pt x="7811" y="4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6" name="Freihandform: Form 715">
              <a:extLst>
                <a:ext uri="{FF2B5EF4-FFF2-40B4-BE49-F238E27FC236}">
                  <a16:creationId xmlns:a16="http://schemas.microsoft.com/office/drawing/2014/main" id="{F6DC6975-C0DB-7416-45A7-D58D75D0AD31}"/>
                </a:ext>
              </a:extLst>
            </p:cNvPr>
            <p:cNvSpPr/>
            <p:nvPr/>
          </p:nvSpPr>
          <p:spPr>
            <a:xfrm>
              <a:off x="5477114" y="2905492"/>
              <a:ext cx="285" cy="3143"/>
            </a:xfrm>
            <a:custGeom>
              <a:avLst/>
              <a:gdLst>
                <a:gd name="connsiteX0" fmla="*/ 286 w 285"/>
                <a:gd name="connsiteY0" fmla="*/ 3143 h 3143"/>
                <a:gd name="connsiteX1" fmla="*/ 286 w 285"/>
                <a:gd name="connsiteY1" fmla="*/ 0 h 3143"/>
                <a:gd name="connsiteX2" fmla="*/ 0 w 285"/>
                <a:gd name="connsiteY2" fmla="*/ 0 h 3143"/>
                <a:gd name="connsiteX3" fmla="*/ 0 w 285"/>
                <a:gd name="connsiteY3" fmla="*/ 3143 h 3143"/>
                <a:gd name="connsiteX4" fmla="*/ 286 w 285"/>
                <a:gd name="connsiteY4" fmla="*/ 3143 h 3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" h="3143">
                  <a:moveTo>
                    <a:pt x="286" y="3143"/>
                  </a:moveTo>
                  <a:lnTo>
                    <a:pt x="286" y="0"/>
                  </a:lnTo>
                  <a:lnTo>
                    <a:pt x="0" y="0"/>
                  </a:lnTo>
                  <a:lnTo>
                    <a:pt x="0" y="3143"/>
                  </a:lnTo>
                  <a:lnTo>
                    <a:pt x="286" y="3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7" name="Freihandform: Form 716">
              <a:extLst>
                <a:ext uri="{FF2B5EF4-FFF2-40B4-BE49-F238E27FC236}">
                  <a16:creationId xmlns:a16="http://schemas.microsoft.com/office/drawing/2014/main" id="{C7E63ED6-3AB7-0B32-C61A-6231CADD5CB7}"/>
                </a:ext>
              </a:extLst>
            </p:cNvPr>
            <p:cNvSpPr/>
            <p:nvPr/>
          </p:nvSpPr>
          <p:spPr>
            <a:xfrm>
              <a:off x="5473400" y="2904825"/>
              <a:ext cx="3333" cy="952"/>
            </a:xfrm>
            <a:custGeom>
              <a:avLst/>
              <a:gdLst>
                <a:gd name="connsiteX0" fmla="*/ 0 w 3333"/>
                <a:gd name="connsiteY0" fmla="*/ 953 h 952"/>
                <a:gd name="connsiteX1" fmla="*/ 3334 w 3333"/>
                <a:gd name="connsiteY1" fmla="*/ 381 h 952"/>
                <a:gd name="connsiteX2" fmla="*/ 3334 w 3333"/>
                <a:gd name="connsiteY2" fmla="*/ 0 h 952"/>
                <a:gd name="connsiteX3" fmla="*/ 0 w 3333"/>
                <a:gd name="connsiteY3" fmla="*/ 667 h 952"/>
                <a:gd name="connsiteX4" fmla="*/ 0 w 3333"/>
                <a:gd name="connsiteY4" fmla="*/ 953 h 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952">
                  <a:moveTo>
                    <a:pt x="0" y="953"/>
                  </a:moveTo>
                  <a:lnTo>
                    <a:pt x="3334" y="381"/>
                  </a:lnTo>
                  <a:lnTo>
                    <a:pt x="3334" y="0"/>
                  </a:lnTo>
                  <a:lnTo>
                    <a:pt x="0" y="667"/>
                  </a:lnTo>
                  <a:lnTo>
                    <a:pt x="0" y="95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8" name="Freihandform: Form 717">
              <a:extLst>
                <a:ext uri="{FF2B5EF4-FFF2-40B4-BE49-F238E27FC236}">
                  <a16:creationId xmlns:a16="http://schemas.microsoft.com/office/drawing/2014/main" id="{1EB0E16D-29C2-A187-D071-7BBAB5DA405E}"/>
                </a:ext>
              </a:extLst>
            </p:cNvPr>
            <p:cNvSpPr/>
            <p:nvPr/>
          </p:nvSpPr>
          <p:spPr>
            <a:xfrm>
              <a:off x="5474638" y="2901777"/>
              <a:ext cx="2286" cy="2476"/>
            </a:xfrm>
            <a:custGeom>
              <a:avLst/>
              <a:gdLst>
                <a:gd name="connsiteX0" fmla="*/ 0 w 2286"/>
                <a:gd name="connsiteY0" fmla="*/ 191 h 2476"/>
                <a:gd name="connsiteX1" fmla="*/ 2096 w 2286"/>
                <a:gd name="connsiteY1" fmla="*/ 2477 h 2476"/>
                <a:gd name="connsiteX2" fmla="*/ 2286 w 2286"/>
                <a:gd name="connsiteY2" fmla="*/ 2286 h 2476"/>
                <a:gd name="connsiteX3" fmla="*/ 191 w 2286"/>
                <a:gd name="connsiteY3" fmla="*/ 0 h 2476"/>
                <a:gd name="connsiteX4" fmla="*/ 0 w 2286"/>
                <a:gd name="connsiteY4" fmla="*/ 191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" h="2476">
                  <a:moveTo>
                    <a:pt x="0" y="191"/>
                  </a:moveTo>
                  <a:lnTo>
                    <a:pt x="2096" y="2477"/>
                  </a:lnTo>
                  <a:lnTo>
                    <a:pt x="2286" y="2286"/>
                  </a:lnTo>
                  <a:lnTo>
                    <a:pt x="191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9" name="Freihandform: Form 718">
              <a:extLst>
                <a:ext uri="{FF2B5EF4-FFF2-40B4-BE49-F238E27FC236}">
                  <a16:creationId xmlns:a16="http://schemas.microsoft.com/office/drawing/2014/main" id="{F3866B50-7019-D822-206B-339E696BD418}"/>
                </a:ext>
              </a:extLst>
            </p:cNvPr>
            <p:cNvSpPr/>
            <p:nvPr/>
          </p:nvSpPr>
          <p:spPr>
            <a:xfrm>
              <a:off x="5477496" y="2901396"/>
              <a:ext cx="1904" cy="2762"/>
            </a:xfrm>
            <a:custGeom>
              <a:avLst/>
              <a:gdLst>
                <a:gd name="connsiteX0" fmla="*/ 1619 w 1904"/>
                <a:gd name="connsiteY0" fmla="*/ 0 h 2762"/>
                <a:gd name="connsiteX1" fmla="*/ 0 w 1904"/>
                <a:gd name="connsiteY1" fmla="*/ 2572 h 2762"/>
                <a:gd name="connsiteX2" fmla="*/ 286 w 1904"/>
                <a:gd name="connsiteY2" fmla="*/ 2762 h 2762"/>
                <a:gd name="connsiteX3" fmla="*/ 1905 w 1904"/>
                <a:gd name="connsiteY3" fmla="*/ 191 h 2762"/>
                <a:gd name="connsiteX4" fmla="*/ 1619 w 1904"/>
                <a:gd name="connsiteY4" fmla="*/ 0 h 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4" h="2762">
                  <a:moveTo>
                    <a:pt x="1619" y="0"/>
                  </a:moveTo>
                  <a:lnTo>
                    <a:pt x="0" y="2572"/>
                  </a:lnTo>
                  <a:lnTo>
                    <a:pt x="286" y="2762"/>
                  </a:lnTo>
                  <a:lnTo>
                    <a:pt x="1905" y="191"/>
                  </a:lnTo>
                  <a:lnTo>
                    <a:pt x="1619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0" name="Freihandform: Form 719">
              <a:extLst>
                <a:ext uri="{FF2B5EF4-FFF2-40B4-BE49-F238E27FC236}">
                  <a16:creationId xmlns:a16="http://schemas.microsoft.com/office/drawing/2014/main" id="{6DFA7B7A-8562-8B66-5D72-516B7DE6534D}"/>
                </a:ext>
              </a:extLst>
            </p:cNvPr>
            <p:cNvSpPr/>
            <p:nvPr/>
          </p:nvSpPr>
          <p:spPr>
            <a:xfrm>
              <a:off x="5477972" y="2904825"/>
              <a:ext cx="3047" cy="1142"/>
            </a:xfrm>
            <a:custGeom>
              <a:avLst/>
              <a:gdLst>
                <a:gd name="connsiteX0" fmla="*/ 3048 w 3047"/>
                <a:gd name="connsiteY0" fmla="*/ 857 h 1142"/>
                <a:gd name="connsiteX1" fmla="*/ 95 w 3047"/>
                <a:gd name="connsiteY1" fmla="*/ 0 h 1142"/>
                <a:gd name="connsiteX2" fmla="*/ 0 w 3047"/>
                <a:gd name="connsiteY2" fmla="*/ 286 h 1142"/>
                <a:gd name="connsiteX3" fmla="*/ 2953 w 3047"/>
                <a:gd name="connsiteY3" fmla="*/ 1143 h 1142"/>
                <a:gd name="connsiteX4" fmla="*/ 3048 w 3047"/>
                <a:gd name="connsiteY4" fmla="*/ 857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" h="1142">
                  <a:moveTo>
                    <a:pt x="3048" y="857"/>
                  </a:moveTo>
                  <a:lnTo>
                    <a:pt x="95" y="0"/>
                  </a:lnTo>
                  <a:lnTo>
                    <a:pt x="0" y="286"/>
                  </a:lnTo>
                  <a:lnTo>
                    <a:pt x="2953" y="1143"/>
                  </a:lnTo>
                  <a:lnTo>
                    <a:pt x="3048" y="857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1" name="Freihandform: Form 720">
              <a:extLst>
                <a:ext uri="{FF2B5EF4-FFF2-40B4-BE49-F238E27FC236}">
                  <a16:creationId xmlns:a16="http://schemas.microsoft.com/office/drawing/2014/main" id="{FA3F6C61-2106-013A-684C-9D3C4A31078E}"/>
                </a:ext>
              </a:extLst>
            </p:cNvPr>
            <p:cNvSpPr/>
            <p:nvPr/>
          </p:nvSpPr>
          <p:spPr>
            <a:xfrm>
              <a:off x="5476353" y="2903777"/>
              <a:ext cx="1904" cy="1904"/>
            </a:xfrm>
            <a:custGeom>
              <a:avLst/>
              <a:gdLst>
                <a:gd name="connsiteX0" fmla="*/ 1905 w 1904"/>
                <a:gd name="connsiteY0" fmla="*/ 953 h 1904"/>
                <a:gd name="connsiteX1" fmla="*/ 952 w 1904"/>
                <a:gd name="connsiteY1" fmla="*/ 1905 h 1904"/>
                <a:gd name="connsiteX2" fmla="*/ 0 w 1904"/>
                <a:gd name="connsiteY2" fmla="*/ 953 h 1904"/>
                <a:gd name="connsiteX3" fmla="*/ 952 w 1904"/>
                <a:gd name="connsiteY3" fmla="*/ 0 h 1904"/>
                <a:gd name="connsiteX4" fmla="*/ 1905 w 1904"/>
                <a:gd name="connsiteY4" fmla="*/ 953 h 1904"/>
                <a:gd name="connsiteX5" fmla="*/ 1905 w 1904"/>
                <a:gd name="connsiteY5" fmla="*/ 953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4" h="1904">
                  <a:moveTo>
                    <a:pt x="1905" y="953"/>
                  </a:moveTo>
                  <a:cubicBezTo>
                    <a:pt x="1905" y="1429"/>
                    <a:pt x="1524" y="1905"/>
                    <a:pt x="952" y="1905"/>
                  </a:cubicBezTo>
                  <a:cubicBezTo>
                    <a:pt x="476" y="1905"/>
                    <a:pt x="0" y="1524"/>
                    <a:pt x="0" y="953"/>
                  </a:cubicBezTo>
                  <a:cubicBezTo>
                    <a:pt x="0" y="476"/>
                    <a:pt x="381" y="0"/>
                    <a:pt x="952" y="0"/>
                  </a:cubicBezTo>
                  <a:cubicBezTo>
                    <a:pt x="1429" y="0"/>
                    <a:pt x="1905" y="476"/>
                    <a:pt x="1905" y="953"/>
                  </a:cubicBezTo>
                  <a:lnTo>
                    <a:pt x="1905" y="95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2" name="Freihandform: Form 721">
              <a:extLst>
                <a:ext uri="{FF2B5EF4-FFF2-40B4-BE49-F238E27FC236}">
                  <a16:creationId xmlns:a16="http://schemas.microsoft.com/office/drawing/2014/main" id="{B90F9754-B7B2-59BF-0609-C8AA8F44E6F7}"/>
                </a:ext>
              </a:extLst>
            </p:cNvPr>
            <p:cNvSpPr/>
            <p:nvPr/>
          </p:nvSpPr>
          <p:spPr>
            <a:xfrm>
              <a:off x="5460541" y="3083324"/>
              <a:ext cx="26288" cy="26288"/>
            </a:xfrm>
            <a:custGeom>
              <a:avLst/>
              <a:gdLst>
                <a:gd name="connsiteX0" fmla="*/ 26289 w 26288"/>
                <a:gd name="connsiteY0" fmla="*/ 13144 h 26288"/>
                <a:gd name="connsiteX1" fmla="*/ 13144 w 26288"/>
                <a:gd name="connsiteY1" fmla="*/ 26289 h 26288"/>
                <a:gd name="connsiteX2" fmla="*/ 0 w 26288"/>
                <a:gd name="connsiteY2" fmla="*/ 13144 h 26288"/>
                <a:gd name="connsiteX3" fmla="*/ 13144 w 26288"/>
                <a:gd name="connsiteY3" fmla="*/ 0 h 26288"/>
                <a:gd name="connsiteX4" fmla="*/ 26289 w 26288"/>
                <a:gd name="connsiteY4" fmla="*/ 13144 h 26288"/>
                <a:gd name="connsiteX5" fmla="*/ 26289 w 26288"/>
                <a:gd name="connsiteY5" fmla="*/ 13144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88" h="26288">
                  <a:moveTo>
                    <a:pt x="26289" y="13144"/>
                  </a:moveTo>
                  <a:cubicBezTo>
                    <a:pt x="26289" y="20383"/>
                    <a:pt x="20383" y="26289"/>
                    <a:pt x="13144" y="26289"/>
                  </a:cubicBezTo>
                  <a:cubicBezTo>
                    <a:pt x="5905" y="26289"/>
                    <a:pt x="0" y="20383"/>
                    <a:pt x="0" y="13144"/>
                  </a:cubicBezTo>
                  <a:cubicBezTo>
                    <a:pt x="0" y="5905"/>
                    <a:pt x="5905" y="0"/>
                    <a:pt x="13144" y="0"/>
                  </a:cubicBezTo>
                  <a:cubicBezTo>
                    <a:pt x="20383" y="0"/>
                    <a:pt x="26289" y="5905"/>
                    <a:pt x="26289" y="13144"/>
                  </a:cubicBezTo>
                  <a:lnTo>
                    <a:pt x="26289" y="1314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3" name="Freihandform: Form 722">
              <a:extLst>
                <a:ext uri="{FF2B5EF4-FFF2-40B4-BE49-F238E27FC236}">
                  <a16:creationId xmlns:a16="http://schemas.microsoft.com/office/drawing/2014/main" id="{8417C6B3-5B8E-1566-E383-516BB0C0A73B}"/>
                </a:ext>
              </a:extLst>
            </p:cNvPr>
            <p:cNvSpPr/>
            <p:nvPr/>
          </p:nvSpPr>
          <p:spPr>
            <a:xfrm>
              <a:off x="5461208" y="3083895"/>
              <a:ext cx="24955" cy="25050"/>
            </a:xfrm>
            <a:custGeom>
              <a:avLst/>
              <a:gdLst>
                <a:gd name="connsiteX0" fmla="*/ 24956 w 24955"/>
                <a:gd name="connsiteY0" fmla="*/ 12573 h 25050"/>
                <a:gd name="connsiteX1" fmla="*/ 12478 w 24955"/>
                <a:gd name="connsiteY1" fmla="*/ 25051 h 25050"/>
                <a:gd name="connsiteX2" fmla="*/ 0 w 24955"/>
                <a:gd name="connsiteY2" fmla="*/ 12573 h 25050"/>
                <a:gd name="connsiteX3" fmla="*/ 12478 w 24955"/>
                <a:gd name="connsiteY3" fmla="*/ 0 h 25050"/>
                <a:gd name="connsiteX4" fmla="*/ 24956 w 24955"/>
                <a:gd name="connsiteY4" fmla="*/ 12573 h 25050"/>
                <a:gd name="connsiteX5" fmla="*/ 24956 w 24955"/>
                <a:gd name="connsiteY5" fmla="*/ 12573 h 2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55" h="25050">
                  <a:moveTo>
                    <a:pt x="24956" y="12573"/>
                  </a:moveTo>
                  <a:cubicBezTo>
                    <a:pt x="24956" y="19526"/>
                    <a:pt x="19336" y="25051"/>
                    <a:pt x="12478" y="25051"/>
                  </a:cubicBezTo>
                  <a:cubicBezTo>
                    <a:pt x="5620" y="25051"/>
                    <a:pt x="0" y="19431"/>
                    <a:pt x="0" y="12573"/>
                  </a:cubicBezTo>
                  <a:cubicBezTo>
                    <a:pt x="0" y="5620"/>
                    <a:pt x="5620" y="0"/>
                    <a:pt x="12478" y="0"/>
                  </a:cubicBezTo>
                  <a:cubicBezTo>
                    <a:pt x="19336" y="0"/>
                    <a:pt x="24956" y="5620"/>
                    <a:pt x="24956" y="12573"/>
                  </a:cubicBezTo>
                  <a:lnTo>
                    <a:pt x="24956" y="1257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4" name="Freihandform: Form 723">
              <a:extLst>
                <a:ext uri="{FF2B5EF4-FFF2-40B4-BE49-F238E27FC236}">
                  <a16:creationId xmlns:a16="http://schemas.microsoft.com/office/drawing/2014/main" id="{AD4D6A03-304A-BBFA-07C6-7D8633F2CBF0}"/>
                </a:ext>
              </a:extLst>
            </p:cNvPr>
            <p:cNvSpPr/>
            <p:nvPr/>
          </p:nvSpPr>
          <p:spPr>
            <a:xfrm>
              <a:off x="5407772" y="3083324"/>
              <a:ext cx="26289" cy="26288"/>
            </a:xfrm>
            <a:custGeom>
              <a:avLst/>
              <a:gdLst>
                <a:gd name="connsiteX0" fmla="*/ 26289 w 26289"/>
                <a:gd name="connsiteY0" fmla="*/ 13144 h 26288"/>
                <a:gd name="connsiteX1" fmla="*/ 13145 w 26289"/>
                <a:gd name="connsiteY1" fmla="*/ 26289 h 26288"/>
                <a:gd name="connsiteX2" fmla="*/ 0 w 26289"/>
                <a:gd name="connsiteY2" fmla="*/ 13144 h 26288"/>
                <a:gd name="connsiteX3" fmla="*/ 13145 w 26289"/>
                <a:gd name="connsiteY3" fmla="*/ 0 h 26288"/>
                <a:gd name="connsiteX4" fmla="*/ 26289 w 26289"/>
                <a:gd name="connsiteY4" fmla="*/ 13144 h 26288"/>
                <a:gd name="connsiteX5" fmla="*/ 26289 w 26289"/>
                <a:gd name="connsiteY5" fmla="*/ 13144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89" h="26288">
                  <a:moveTo>
                    <a:pt x="26289" y="13144"/>
                  </a:moveTo>
                  <a:cubicBezTo>
                    <a:pt x="26289" y="20383"/>
                    <a:pt x="20383" y="26289"/>
                    <a:pt x="13145" y="26289"/>
                  </a:cubicBezTo>
                  <a:cubicBezTo>
                    <a:pt x="5906" y="26289"/>
                    <a:pt x="0" y="20383"/>
                    <a:pt x="0" y="13144"/>
                  </a:cubicBezTo>
                  <a:cubicBezTo>
                    <a:pt x="0" y="5905"/>
                    <a:pt x="5906" y="0"/>
                    <a:pt x="13145" y="0"/>
                  </a:cubicBezTo>
                  <a:cubicBezTo>
                    <a:pt x="20383" y="0"/>
                    <a:pt x="26289" y="5905"/>
                    <a:pt x="26289" y="13144"/>
                  </a:cubicBezTo>
                  <a:lnTo>
                    <a:pt x="26289" y="1314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5" name="Freihandform: Form 724">
              <a:extLst>
                <a:ext uri="{FF2B5EF4-FFF2-40B4-BE49-F238E27FC236}">
                  <a16:creationId xmlns:a16="http://schemas.microsoft.com/office/drawing/2014/main" id="{280BC0FD-CF1A-075E-A907-2265AED00502}"/>
                </a:ext>
              </a:extLst>
            </p:cNvPr>
            <p:cNvSpPr/>
            <p:nvPr/>
          </p:nvSpPr>
          <p:spPr>
            <a:xfrm>
              <a:off x="5408344" y="3083895"/>
              <a:ext cx="25050" cy="25050"/>
            </a:xfrm>
            <a:custGeom>
              <a:avLst/>
              <a:gdLst>
                <a:gd name="connsiteX0" fmla="*/ 25051 w 25050"/>
                <a:gd name="connsiteY0" fmla="*/ 12573 h 25050"/>
                <a:gd name="connsiteX1" fmla="*/ 12573 w 25050"/>
                <a:gd name="connsiteY1" fmla="*/ 25051 h 25050"/>
                <a:gd name="connsiteX2" fmla="*/ 0 w 25050"/>
                <a:gd name="connsiteY2" fmla="*/ 12573 h 25050"/>
                <a:gd name="connsiteX3" fmla="*/ 12573 w 25050"/>
                <a:gd name="connsiteY3" fmla="*/ 0 h 25050"/>
                <a:gd name="connsiteX4" fmla="*/ 25051 w 25050"/>
                <a:gd name="connsiteY4" fmla="*/ 12573 h 25050"/>
                <a:gd name="connsiteX5" fmla="*/ 25051 w 25050"/>
                <a:gd name="connsiteY5" fmla="*/ 12573 h 2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50" h="25050">
                  <a:moveTo>
                    <a:pt x="25051" y="12573"/>
                  </a:moveTo>
                  <a:cubicBezTo>
                    <a:pt x="25051" y="19526"/>
                    <a:pt x="19431" y="25051"/>
                    <a:pt x="12573" y="25051"/>
                  </a:cubicBezTo>
                  <a:cubicBezTo>
                    <a:pt x="5620" y="25051"/>
                    <a:pt x="0" y="19431"/>
                    <a:pt x="0" y="12573"/>
                  </a:cubicBezTo>
                  <a:cubicBezTo>
                    <a:pt x="0" y="5620"/>
                    <a:pt x="5620" y="0"/>
                    <a:pt x="12573" y="0"/>
                  </a:cubicBezTo>
                  <a:cubicBezTo>
                    <a:pt x="19431" y="0"/>
                    <a:pt x="25051" y="5620"/>
                    <a:pt x="25051" y="12573"/>
                  </a:cubicBezTo>
                  <a:lnTo>
                    <a:pt x="25051" y="1257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6" name="Freihandform: Form 725">
              <a:extLst>
                <a:ext uri="{FF2B5EF4-FFF2-40B4-BE49-F238E27FC236}">
                  <a16:creationId xmlns:a16="http://schemas.microsoft.com/office/drawing/2014/main" id="{4DA2E85E-E205-0307-F633-83BA4990DAF4}"/>
                </a:ext>
              </a:extLst>
            </p:cNvPr>
            <p:cNvSpPr/>
            <p:nvPr/>
          </p:nvSpPr>
          <p:spPr>
            <a:xfrm>
              <a:off x="5498736" y="3091705"/>
              <a:ext cx="16002" cy="16002"/>
            </a:xfrm>
            <a:custGeom>
              <a:avLst/>
              <a:gdLst>
                <a:gd name="connsiteX0" fmla="*/ 16002 w 16002"/>
                <a:gd name="connsiteY0" fmla="*/ 8001 h 16002"/>
                <a:gd name="connsiteX1" fmla="*/ 8001 w 16002"/>
                <a:gd name="connsiteY1" fmla="*/ 16002 h 16002"/>
                <a:gd name="connsiteX2" fmla="*/ 0 w 16002"/>
                <a:gd name="connsiteY2" fmla="*/ 8001 h 16002"/>
                <a:gd name="connsiteX3" fmla="*/ 8001 w 16002"/>
                <a:gd name="connsiteY3" fmla="*/ 0 h 16002"/>
                <a:gd name="connsiteX4" fmla="*/ 16002 w 16002"/>
                <a:gd name="connsiteY4" fmla="*/ 8001 h 16002"/>
                <a:gd name="connsiteX5" fmla="*/ 16002 w 16002"/>
                <a:gd name="connsiteY5" fmla="*/ 8001 h 1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02" h="16002">
                  <a:moveTo>
                    <a:pt x="16002" y="8001"/>
                  </a:moveTo>
                  <a:cubicBezTo>
                    <a:pt x="16002" y="12478"/>
                    <a:pt x="12383" y="16002"/>
                    <a:pt x="8001" y="16002"/>
                  </a:cubicBezTo>
                  <a:cubicBezTo>
                    <a:pt x="3524" y="16002"/>
                    <a:pt x="0" y="12383"/>
                    <a:pt x="0" y="8001"/>
                  </a:cubicBezTo>
                  <a:cubicBezTo>
                    <a:pt x="0" y="3524"/>
                    <a:pt x="3620" y="0"/>
                    <a:pt x="8001" y="0"/>
                  </a:cubicBezTo>
                  <a:cubicBezTo>
                    <a:pt x="12383" y="0"/>
                    <a:pt x="16002" y="3620"/>
                    <a:pt x="16002" y="8001"/>
                  </a:cubicBezTo>
                  <a:lnTo>
                    <a:pt x="16002" y="800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7" name="Freihandform: Form 726">
              <a:extLst>
                <a:ext uri="{FF2B5EF4-FFF2-40B4-BE49-F238E27FC236}">
                  <a16:creationId xmlns:a16="http://schemas.microsoft.com/office/drawing/2014/main" id="{BF800425-D4D0-EEA9-3A28-6945B6041CCD}"/>
                </a:ext>
              </a:extLst>
            </p:cNvPr>
            <p:cNvSpPr/>
            <p:nvPr/>
          </p:nvSpPr>
          <p:spPr>
            <a:xfrm>
              <a:off x="5499117" y="3092087"/>
              <a:ext cx="15239" cy="15239"/>
            </a:xfrm>
            <a:custGeom>
              <a:avLst/>
              <a:gdLst>
                <a:gd name="connsiteX0" fmla="*/ 15240 w 15239"/>
                <a:gd name="connsiteY0" fmla="*/ 7620 h 15239"/>
                <a:gd name="connsiteX1" fmla="*/ 7620 w 15239"/>
                <a:gd name="connsiteY1" fmla="*/ 15240 h 15239"/>
                <a:gd name="connsiteX2" fmla="*/ 0 w 15239"/>
                <a:gd name="connsiteY2" fmla="*/ 7620 h 15239"/>
                <a:gd name="connsiteX3" fmla="*/ 7620 w 15239"/>
                <a:gd name="connsiteY3" fmla="*/ 0 h 15239"/>
                <a:gd name="connsiteX4" fmla="*/ 15240 w 15239"/>
                <a:gd name="connsiteY4" fmla="*/ 7620 h 15239"/>
                <a:gd name="connsiteX5" fmla="*/ 15240 w 15239"/>
                <a:gd name="connsiteY5" fmla="*/ 7620 h 1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39" h="15239">
                  <a:moveTo>
                    <a:pt x="15240" y="7620"/>
                  </a:moveTo>
                  <a:cubicBezTo>
                    <a:pt x="15240" y="11811"/>
                    <a:pt x="11811" y="15240"/>
                    <a:pt x="7620" y="15240"/>
                  </a:cubicBezTo>
                  <a:cubicBezTo>
                    <a:pt x="3429" y="15240"/>
                    <a:pt x="0" y="11811"/>
                    <a:pt x="0" y="7620"/>
                  </a:cubicBezTo>
                  <a:cubicBezTo>
                    <a:pt x="0" y="3429"/>
                    <a:pt x="3429" y="0"/>
                    <a:pt x="7620" y="0"/>
                  </a:cubicBezTo>
                  <a:cubicBezTo>
                    <a:pt x="11811" y="0"/>
                    <a:pt x="15240" y="3429"/>
                    <a:pt x="15240" y="7620"/>
                  </a:cubicBezTo>
                  <a:lnTo>
                    <a:pt x="15240" y="762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8" name="Freihandform: Form 727">
              <a:extLst>
                <a:ext uri="{FF2B5EF4-FFF2-40B4-BE49-F238E27FC236}">
                  <a16:creationId xmlns:a16="http://schemas.microsoft.com/office/drawing/2014/main" id="{846FE9A6-4152-5399-5CEA-74DE529BE2E4}"/>
                </a:ext>
              </a:extLst>
            </p:cNvPr>
            <p:cNvSpPr/>
            <p:nvPr/>
          </p:nvSpPr>
          <p:spPr>
            <a:xfrm>
              <a:off x="5523692" y="3091515"/>
              <a:ext cx="16097" cy="16001"/>
            </a:xfrm>
            <a:custGeom>
              <a:avLst/>
              <a:gdLst>
                <a:gd name="connsiteX0" fmla="*/ 16097 w 16097"/>
                <a:gd name="connsiteY0" fmla="*/ 8001 h 16001"/>
                <a:gd name="connsiteX1" fmla="*/ 8096 w 16097"/>
                <a:gd name="connsiteY1" fmla="*/ 16002 h 16001"/>
                <a:gd name="connsiteX2" fmla="*/ 0 w 16097"/>
                <a:gd name="connsiteY2" fmla="*/ 8001 h 16001"/>
                <a:gd name="connsiteX3" fmla="*/ 8096 w 16097"/>
                <a:gd name="connsiteY3" fmla="*/ 0 h 16001"/>
                <a:gd name="connsiteX4" fmla="*/ 16097 w 16097"/>
                <a:gd name="connsiteY4" fmla="*/ 8001 h 16001"/>
                <a:gd name="connsiteX5" fmla="*/ 16097 w 16097"/>
                <a:gd name="connsiteY5" fmla="*/ 8001 h 1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97" h="16001">
                  <a:moveTo>
                    <a:pt x="16097" y="8001"/>
                  </a:moveTo>
                  <a:cubicBezTo>
                    <a:pt x="16097" y="12478"/>
                    <a:pt x="12478" y="16002"/>
                    <a:pt x="8096" y="16002"/>
                  </a:cubicBezTo>
                  <a:cubicBezTo>
                    <a:pt x="3620" y="16002"/>
                    <a:pt x="0" y="12382"/>
                    <a:pt x="0" y="8001"/>
                  </a:cubicBezTo>
                  <a:cubicBezTo>
                    <a:pt x="0" y="3524"/>
                    <a:pt x="3620" y="0"/>
                    <a:pt x="8096" y="0"/>
                  </a:cubicBezTo>
                  <a:cubicBezTo>
                    <a:pt x="12573" y="0"/>
                    <a:pt x="16097" y="3619"/>
                    <a:pt x="16097" y="8001"/>
                  </a:cubicBezTo>
                  <a:lnTo>
                    <a:pt x="16097" y="800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9" name="Freihandform: Form 728">
              <a:extLst>
                <a:ext uri="{FF2B5EF4-FFF2-40B4-BE49-F238E27FC236}">
                  <a16:creationId xmlns:a16="http://schemas.microsoft.com/office/drawing/2014/main" id="{F8FEC25D-5139-6904-5ACA-2F23B41CF64B}"/>
                </a:ext>
              </a:extLst>
            </p:cNvPr>
            <p:cNvSpPr/>
            <p:nvPr/>
          </p:nvSpPr>
          <p:spPr>
            <a:xfrm>
              <a:off x="5524168" y="3091896"/>
              <a:ext cx="15240" cy="15240"/>
            </a:xfrm>
            <a:custGeom>
              <a:avLst/>
              <a:gdLst>
                <a:gd name="connsiteX0" fmla="*/ 15240 w 15240"/>
                <a:gd name="connsiteY0" fmla="*/ 7620 h 15240"/>
                <a:gd name="connsiteX1" fmla="*/ 7620 w 15240"/>
                <a:gd name="connsiteY1" fmla="*/ 15240 h 15240"/>
                <a:gd name="connsiteX2" fmla="*/ 0 w 15240"/>
                <a:gd name="connsiteY2" fmla="*/ 7620 h 15240"/>
                <a:gd name="connsiteX3" fmla="*/ 7620 w 15240"/>
                <a:gd name="connsiteY3" fmla="*/ 0 h 15240"/>
                <a:gd name="connsiteX4" fmla="*/ 15240 w 15240"/>
                <a:gd name="connsiteY4" fmla="*/ 7620 h 15240"/>
                <a:gd name="connsiteX5" fmla="*/ 15240 w 15240"/>
                <a:gd name="connsiteY5" fmla="*/ 7620 h 1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" h="15240">
                  <a:moveTo>
                    <a:pt x="15240" y="7620"/>
                  </a:moveTo>
                  <a:cubicBezTo>
                    <a:pt x="15240" y="11811"/>
                    <a:pt x="11811" y="15240"/>
                    <a:pt x="7620" y="15240"/>
                  </a:cubicBezTo>
                  <a:cubicBezTo>
                    <a:pt x="3429" y="15240"/>
                    <a:pt x="0" y="11811"/>
                    <a:pt x="0" y="7620"/>
                  </a:cubicBezTo>
                  <a:cubicBezTo>
                    <a:pt x="0" y="3429"/>
                    <a:pt x="3429" y="0"/>
                    <a:pt x="7620" y="0"/>
                  </a:cubicBezTo>
                  <a:cubicBezTo>
                    <a:pt x="11811" y="0"/>
                    <a:pt x="15240" y="3429"/>
                    <a:pt x="15240" y="7620"/>
                  </a:cubicBezTo>
                  <a:lnTo>
                    <a:pt x="15240" y="762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0" name="Freihandform: Form 729">
              <a:extLst>
                <a:ext uri="{FF2B5EF4-FFF2-40B4-BE49-F238E27FC236}">
                  <a16:creationId xmlns:a16="http://schemas.microsoft.com/office/drawing/2014/main" id="{C1BF2300-81D7-9F51-D70C-836E6E144DDF}"/>
                </a:ext>
              </a:extLst>
            </p:cNvPr>
            <p:cNvSpPr/>
            <p:nvPr/>
          </p:nvSpPr>
          <p:spPr>
            <a:xfrm>
              <a:off x="5612655" y="2861486"/>
              <a:ext cx="239267" cy="9906"/>
            </a:xfrm>
            <a:custGeom>
              <a:avLst/>
              <a:gdLst>
                <a:gd name="connsiteX0" fmla="*/ 236792 w 239267"/>
                <a:gd name="connsiteY0" fmla="*/ 9906 h 9906"/>
                <a:gd name="connsiteX1" fmla="*/ 239268 w 239267"/>
                <a:gd name="connsiteY1" fmla="*/ 7429 h 9906"/>
                <a:gd name="connsiteX2" fmla="*/ 239268 w 239267"/>
                <a:gd name="connsiteY2" fmla="*/ 2476 h 9906"/>
                <a:gd name="connsiteX3" fmla="*/ 236792 w 239267"/>
                <a:gd name="connsiteY3" fmla="*/ 0 h 9906"/>
                <a:gd name="connsiteX4" fmla="*/ 2476 w 239267"/>
                <a:gd name="connsiteY4" fmla="*/ 0 h 9906"/>
                <a:gd name="connsiteX5" fmla="*/ 0 w 239267"/>
                <a:gd name="connsiteY5" fmla="*/ 2476 h 9906"/>
                <a:gd name="connsiteX6" fmla="*/ 0 w 239267"/>
                <a:gd name="connsiteY6" fmla="*/ 7429 h 9906"/>
                <a:gd name="connsiteX7" fmla="*/ 2476 w 239267"/>
                <a:gd name="connsiteY7" fmla="*/ 9906 h 9906"/>
                <a:gd name="connsiteX8" fmla="*/ 236792 w 239267"/>
                <a:gd name="connsiteY8" fmla="*/ 9906 h 9906"/>
                <a:gd name="connsiteX9" fmla="*/ 236792 w 239267"/>
                <a:gd name="connsiteY9" fmla="*/ 9906 h 9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267" h="9906">
                  <a:moveTo>
                    <a:pt x="236792" y="9906"/>
                  </a:moveTo>
                  <a:cubicBezTo>
                    <a:pt x="238125" y="9906"/>
                    <a:pt x="239268" y="8763"/>
                    <a:pt x="239268" y="7429"/>
                  </a:cubicBezTo>
                  <a:lnTo>
                    <a:pt x="239268" y="2476"/>
                  </a:lnTo>
                  <a:cubicBezTo>
                    <a:pt x="239268" y="1143"/>
                    <a:pt x="238125" y="0"/>
                    <a:pt x="236792" y="0"/>
                  </a:cubicBezTo>
                  <a:lnTo>
                    <a:pt x="2476" y="0"/>
                  </a:lnTo>
                  <a:cubicBezTo>
                    <a:pt x="1143" y="0"/>
                    <a:pt x="0" y="1143"/>
                    <a:pt x="0" y="2476"/>
                  </a:cubicBezTo>
                  <a:lnTo>
                    <a:pt x="0" y="7429"/>
                  </a:lnTo>
                  <a:cubicBezTo>
                    <a:pt x="0" y="8763"/>
                    <a:pt x="1143" y="9906"/>
                    <a:pt x="2476" y="9906"/>
                  </a:cubicBezTo>
                  <a:lnTo>
                    <a:pt x="236792" y="9906"/>
                  </a:lnTo>
                  <a:lnTo>
                    <a:pt x="236792" y="9906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1" name="Freihandform: Form 730">
              <a:extLst>
                <a:ext uri="{FF2B5EF4-FFF2-40B4-BE49-F238E27FC236}">
                  <a16:creationId xmlns:a16="http://schemas.microsoft.com/office/drawing/2014/main" id="{8AAFB281-353F-5351-E380-21FE54CB16A9}"/>
                </a:ext>
              </a:extLst>
            </p:cNvPr>
            <p:cNvSpPr/>
            <p:nvPr/>
          </p:nvSpPr>
          <p:spPr>
            <a:xfrm>
              <a:off x="5903549" y="2874440"/>
              <a:ext cx="16668" cy="19907"/>
            </a:xfrm>
            <a:custGeom>
              <a:avLst/>
              <a:gdLst>
                <a:gd name="connsiteX0" fmla="*/ 16669 w 16668"/>
                <a:gd name="connsiteY0" fmla="*/ 19907 h 19907"/>
                <a:gd name="connsiteX1" fmla="*/ 16669 w 16668"/>
                <a:gd name="connsiteY1" fmla="*/ 0 h 19907"/>
                <a:gd name="connsiteX2" fmla="*/ 0 w 16668"/>
                <a:gd name="connsiteY2" fmla="*/ 0 h 19907"/>
                <a:gd name="connsiteX3" fmla="*/ 0 w 16668"/>
                <a:gd name="connsiteY3" fmla="*/ 19907 h 19907"/>
                <a:gd name="connsiteX4" fmla="*/ 16669 w 16668"/>
                <a:gd name="connsiteY4" fmla="*/ 19907 h 19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68" h="19907">
                  <a:moveTo>
                    <a:pt x="16669" y="19907"/>
                  </a:moveTo>
                  <a:lnTo>
                    <a:pt x="16669" y="0"/>
                  </a:lnTo>
                  <a:lnTo>
                    <a:pt x="0" y="0"/>
                  </a:lnTo>
                  <a:lnTo>
                    <a:pt x="0" y="19907"/>
                  </a:lnTo>
                  <a:lnTo>
                    <a:pt x="16669" y="19907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2" name="Freihandform: Form 731">
              <a:extLst>
                <a:ext uri="{FF2B5EF4-FFF2-40B4-BE49-F238E27FC236}">
                  <a16:creationId xmlns:a16="http://schemas.microsoft.com/office/drawing/2014/main" id="{9C02F9A4-1C38-35BE-F32B-A9DB76B09F0A}"/>
                </a:ext>
              </a:extLst>
            </p:cNvPr>
            <p:cNvSpPr/>
            <p:nvPr/>
          </p:nvSpPr>
          <p:spPr>
            <a:xfrm>
              <a:off x="5627133" y="2880917"/>
              <a:ext cx="213645" cy="11620"/>
            </a:xfrm>
            <a:custGeom>
              <a:avLst/>
              <a:gdLst>
                <a:gd name="connsiteX0" fmla="*/ 213646 w 213645"/>
                <a:gd name="connsiteY0" fmla="*/ 11620 h 11620"/>
                <a:gd name="connsiteX1" fmla="*/ 213646 w 213645"/>
                <a:gd name="connsiteY1" fmla="*/ 0 h 11620"/>
                <a:gd name="connsiteX2" fmla="*/ 0 w 213645"/>
                <a:gd name="connsiteY2" fmla="*/ 0 h 11620"/>
                <a:gd name="connsiteX3" fmla="*/ 0 w 213645"/>
                <a:gd name="connsiteY3" fmla="*/ 11620 h 11620"/>
                <a:gd name="connsiteX4" fmla="*/ 213646 w 213645"/>
                <a:gd name="connsiteY4" fmla="*/ 1162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645" h="11620">
                  <a:moveTo>
                    <a:pt x="213646" y="11620"/>
                  </a:moveTo>
                  <a:lnTo>
                    <a:pt x="213646" y="0"/>
                  </a:lnTo>
                  <a:lnTo>
                    <a:pt x="0" y="0"/>
                  </a:lnTo>
                  <a:lnTo>
                    <a:pt x="0" y="11620"/>
                  </a:lnTo>
                  <a:lnTo>
                    <a:pt x="213646" y="1162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3" name="Freihandform: Form 732">
              <a:extLst>
                <a:ext uri="{FF2B5EF4-FFF2-40B4-BE49-F238E27FC236}">
                  <a16:creationId xmlns:a16="http://schemas.microsoft.com/office/drawing/2014/main" id="{BBBE798F-F434-A65B-7E3E-84BDC4A9029A}"/>
                </a:ext>
              </a:extLst>
            </p:cNvPr>
            <p:cNvSpPr/>
            <p:nvPr/>
          </p:nvSpPr>
          <p:spPr>
            <a:xfrm>
              <a:off x="5882689" y="3066369"/>
              <a:ext cx="40004" cy="17811"/>
            </a:xfrm>
            <a:custGeom>
              <a:avLst/>
              <a:gdLst>
                <a:gd name="connsiteX0" fmla="*/ 40005 w 40004"/>
                <a:gd name="connsiteY0" fmla="*/ 17812 h 17811"/>
                <a:gd name="connsiteX1" fmla="*/ 40005 w 40004"/>
                <a:gd name="connsiteY1" fmla="*/ 0 h 17811"/>
                <a:gd name="connsiteX2" fmla="*/ 0 w 40004"/>
                <a:gd name="connsiteY2" fmla="*/ 0 h 17811"/>
                <a:gd name="connsiteX3" fmla="*/ 0 w 40004"/>
                <a:gd name="connsiteY3" fmla="*/ 17812 h 17811"/>
                <a:gd name="connsiteX4" fmla="*/ 40005 w 40004"/>
                <a:gd name="connsiteY4" fmla="*/ 17812 h 1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4" h="17811">
                  <a:moveTo>
                    <a:pt x="40005" y="17812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17812"/>
                  </a:lnTo>
                  <a:lnTo>
                    <a:pt x="40005" y="17812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4" name="Freihandform: Form 733">
              <a:extLst>
                <a:ext uri="{FF2B5EF4-FFF2-40B4-BE49-F238E27FC236}">
                  <a16:creationId xmlns:a16="http://schemas.microsoft.com/office/drawing/2014/main" id="{7A8BDF1C-4B2B-5FAB-4E1E-9ACC7735D9AD}"/>
                </a:ext>
              </a:extLst>
            </p:cNvPr>
            <p:cNvSpPr/>
            <p:nvPr/>
          </p:nvSpPr>
          <p:spPr>
            <a:xfrm>
              <a:off x="5369863" y="2817576"/>
              <a:ext cx="49149" cy="51054"/>
            </a:xfrm>
            <a:custGeom>
              <a:avLst/>
              <a:gdLst>
                <a:gd name="connsiteX0" fmla="*/ 49149 w 49149"/>
                <a:gd name="connsiteY0" fmla="*/ 51054 h 51054"/>
                <a:gd name="connsiteX1" fmla="*/ 49149 w 49149"/>
                <a:gd name="connsiteY1" fmla="*/ 0 h 51054"/>
                <a:gd name="connsiteX2" fmla="*/ 0 w 49149"/>
                <a:gd name="connsiteY2" fmla="*/ 0 h 51054"/>
                <a:gd name="connsiteX3" fmla="*/ 0 w 49149"/>
                <a:gd name="connsiteY3" fmla="*/ 51054 h 51054"/>
                <a:gd name="connsiteX4" fmla="*/ 49149 w 49149"/>
                <a:gd name="connsiteY4" fmla="*/ 51054 h 5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49" h="51054">
                  <a:moveTo>
                    <a:pt x="49149" y="51054"/>
                  </a:moveTo>
                  <a:lnTo>
                    <a:pt x="49149" y="0"/>
                  </a:lnTo>
                  <a:lnTo>
                    <a:pt x="0" y="0"/>
                  </a:lnTo>
                  <a:lnTo>
                    <a:pt x="0" y="51054"/>
                  </a:lnTo>
                  <a:lnTo>
                    <a:pt x="49149" y="5105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sp>
        <p:nvSpPr>
          <p:cNvPr id="737" name="Textfeld 736">
            <a:extLst>
              <a:ext uri="{FF2B5EF4-FFF2-40B4-BE49-F238E27FC236}">
                <a16:creationId xmlns:a16="http://schemas.microsoft.com/office/drawing/2014/main" id="{CDA494ED-9542-149A-BE27-7546850D0DAC}"/>
              </a:ext>
            </a:extLst>
          </p:cNvPr>
          <p:cNvSpPr txBox="1"/>
          <p:nvPr/>
        </p:nvSpPr>
        <p:spPr>
          <a:xfrm>
            <a:off x="7192587" y="4864313"/>
            <a:ext cx="4999413" cy="8227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/>
              <a:t>Estimated CAPEX:</a:t>
            </a:r>
            <a:r>
              <a:rPr lang="en-US" sz="1100" dirty="0">
                <a:highlight>
                  <a:srgbClr val="FFFF00"/>
                </a:highlight>
              </a:rPr>
              <a:t> xxx </a:t>
            </a:r>
            <a:r>
              <a:rPr lang="en-US" sz="1100" dirty="0"/>
              <a:t>Mio € (standard heat pump installation*)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>
                <a:sym typeface="Wingdings" panose="05000000000000000000" pitchFamily="2" charset="2"/>
              </a:rPr>
              <a:t>Estimated service cost: ~ </a:t>
            </a:r>
            <a:r>
              <a:rPr lang="en-US" sz="1100" dirty="0">
                <a:highlight>
                  <a:srgbClr val="FFFF00"/>
                </a:highlight>
                <a:sym typeface="Wingdings" panose="05000000000000000000" pitchFamily="2" charset="2"/>
              </a:rPr>
              <a:t>xxx</a:t>
            </a:r>
            <a:r>
              <a:rPr lang="en-US" sz="1100" dirty="0">
                <a:sym typeface="Wingdings" panose="05000000000000000000" pitchFamily="2" charset="2"/>
              </a:rPr>
              <a:t> k€/a** </a:t>
            </a:r>
            <a:r>
              <a:rPr lang="en-US" sz="1100" dirty="0"/>
              <a:t>(</a:t>
            </a:r>
            <a:r>
              <a:rPr lang="de-DE" sz="110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±</a:t>
            </a:r>
            <a:r>
              <a:rPr lang="de-DE" sz="11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100" dirty="0"/>
              <a:t>30% accuracy, std. service) 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/>
              <a:t>Estimated footprint: approx. 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>
                <a:sym typeface="Wingdings" panose="05000000000000000000" pitchFamily="2" charset="2"/>
              </a:rPr>
              <a:t>Estimated project duration: ~20 – 24 months</a:t>
            </a:r>
          </a:p>
        </p:txBody>
      </p:sp>
      <p:sp>
        <p:nvSpPr>
          <p:cNvPr id="742" name="Textfeld 741">
            <a:extLst>
              <a:ext uri="{FF2B5EF4-FFF2-40B4-BE49-F238E27FC236}">
                <a16:creationId xmlns:a16="http://schemas.microsoft.com/office/drawing/2014/main" id="{18B2629E-E0C1-73C7-2216-CFE82445E12C}"/>
              </a:ext>
            </a:extLst>
          </p:cNvPr>
          <p:cNvSpPr txBox="1"/>
          <p:nvPr/>
        </p:nvSpPr>
        <p:spPr>
          <a:xfrm>
            <a:off x="6064746" y="4731387"/>
            <a:ext cx="5235156" cy="7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00" spc="320"/>
              <a:t>Solution price &amp; characteristics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BB55E0AC-AEAA-01A0-91B9-74A4BA5464A8}"/>
              </a:ext>
            </a:extLst>
          </p:cNvPr>
          <p:cNvSpPr/>
          <p:nvPr/>
        </p:nvSpPr>
        <p:spPr>
          <a:xfrm rot="16200000">
            <a:off x="3256453" y="3828048"/>
            <a:ext cx="702279" cy="1063545"/>
          </a:xfrm>
          <a:custGeom>
            <a:avLst/>
            <a:gdLst>
              <a:gd name="connsiteX0" fmla="*/ 0 w 488166"/>
              <a:gd name="connsiteY0" fmla="*/ 0 h 652102"/>
              <a:gd name="connsiteX1" fmla="*/ 0 w 488166"/>
              <a:gd name="connsiteY1" fmla="*/ 652102 h 652102"/>
              <a:gd name="connsiteX2" fmla="*/ 488166 w 488166"/>
              <a:gd name="connsiteY2" fmla="*/ 652102 h 65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166" h="652102">
                <a:moveTo>
                  <a:pt x="0" y="0"/>
                </a:moveTo>
                <a:lnTo>
                  <a:pt x="0" y="652102"/>
                </a:lnTo>
                <a:lnTo>
                  <a:pt x="488166" y="652102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grpSp>
        <p:nvGrpSpPr>
          <p:cNvPr id="3" name="Grafik 1120">
            <a:extLst>
              <a:ext uri="{FF2B5EF4-FFF2-40B4-BE49-F238E27FC236}">
                <a16:creationId xmlns:a16="http://schemas.microsoft.com/office/drawing/2014/main" id="{C48A8A30-15EF-3A4A-080A-5990E29B3C42}"/>
              </a:ext>
            </a:extLst>
          </p:cNvPr>
          <p:cNvGrpSpPr/>
          <p:nvPr/>
        </p:nvGrpSpPr>
        <p:grpSpPr>
          <a:xfrm>
            <a:off x="2143084" y="3277930"/>
            <a:ext cx="1637757" cy="1099408"/>
            <a:chOff x="5369863" y="2689274"/>
            <a:chExt cx="638651" cy="428720"/>
          </a:xfrm>
          <a:solidFill>
            <a:srgbClr val="000000"/>
          </a:solidFill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34459E2F-06E3-1787-3A29-ED40EE73C654}"/>
                </a:ext>
              </a:extLst>
            </p:cNvPr>
            <p:cNvSpPr/>
            <p:nvPr/>
          </p:nvSpPr>
          <p:spPr>
            <a:xfrm>
              <a:off x="5488925" y="2996932"/>
              <a:ext cx="13049" cy="3333"/>
            </a:xfrm>
            <a:custGeom>
              <a:avLst/>
              <a:gdLst>
                <a:gd name="connsiteX0" fmla="*/ 13049 w 13049"/>
                <a:gd name="connsiteY0" fmla="*/ 3334 h 3333"/>
                <a:gd name="connsiteX1" fmla="*/ 13049 w 13049"/>
                <a:gd name="connsiteY1" fmla="*/ 0 h 3333"/>
                <a:gd name="connsiteX2" fmla="*/ 0 w 13049"/>
                <a:gd name="connsiteY2" fmla="*/ 0 h 3333"/>
                <a:gd name="connsiteX3" fmla="*/ 0 w 13049"/>
                <a:gd name="connsiteY3" fmla="*/ 3334 h 3333"/>
                <a:gd name="connsiteX4" fmla="*/ 13049 w 13049"/>
                <a:gd name="connsiteY4" fmla="*/ 3334 h 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9" h="3333">
                  <a:moveTo>
                    <a:pt x="13049" y="3334"/>
                  </a:moveTo>
                  <a:lnTo>
                    <a:pt x="13049" y="0"/>
                  </a:lnTo>
                  <a:lnTo>
                    <a:pt x="0" y="0"/>
                  </a:lnTo>
                  <a:lnTo>
                    <a:pt x="0" y="3334"/>
                  </a:lnTo>
                  <a:lnTo>
                    <a:pt x="13049" y="333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7940D0C2-6FC2-B3BF-FB12-28E032B6CD3A}"/>
                </a:ext>
              </a:extLst>
            </p:cNvPr>
            <p:cNvSpPr/>
            <p:nvPr/>
          </p:nvSpPr>
          <p:spPr>
            <a:xfrm>
              <a:off x="5501213" y="3044652"/>
              <a:ext cx="13525" cy="31527"/>
            </a:xfrm>
            <a:custGeom>
              <a:avLst/>
              <a:gdLst>
                <a:gd name="connsiteX0" fmla="*/ 13526 w 13525"/>
                <a:gd name="connsiteY0" fmla="*/ 31528 h 31527"/>
                <a:gd name="connsiteX1" fmla="*/ 13526 w 13525"/>
                <a:gd name="connsiteY1" fmla="*/ 0 h 31527"/>
                <a:gd name="connsiteX2" fmla="*/ 0 w 13525"/>
                <a:gd name="connsiteY2" fmla="*/ 0 h 31527"/>
                <a:gd name="connsiteX3" fmla="*/ 0 w 13525"/>
                <a:gd name="connsiteY3" fmla="*/ 31528 h 31527"/>
                <a:gd name="connsiteX4" fmla="*/ 13526 w 13525"/>
                <a:gd name="connsiteY4" fmla="*/ 31528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25" h="31527">
                  <a:moveTo>
                    <a:pt x="13526" y="31528"/>
                  </a:moveTo>
                  <a:lnTo>
                    <a:pt x="13526" y="0"/>
                  </a:lnTo>
                  <a:lnTo>
                    <a:pt x="0" y="0"/>
                  </a:lnTo>
                  <a:lnTo>
                    <a:pt x="0" y="31528"/>
                  </a:lnTo>
                  <a:lnTo>
                    <a:pt x="13526" y="31528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75E91358-8669-161A-9859-B3436AEEC5CC}"/>
                </a:ext>
              </a:extLst>
            </p:cNvPr>
            <p:cNvSpPr/>
            <p:nvPr/>
          </p:nvSpPr>
          <p:spPr>
            <a:xfrm>
              <a:off x="5495403" y="3049224"/>
              <a:ext cx="8000" cy="22383"/>
            </a:xfrm>
            <a:custGeom>
              <a:avLst/>
              <a:gdLst>
                <a:gd name="connsiteX0" fmla="*/ 6001 w 8000"/>
                <a:gd name="connsiteY0" fmla="*/ 22384 h 22383"/>
                <a:gd name="connsiteX1" fmla="*/ 8001 w 8000"/>
                <a:gd name="connsiteY1" fmla="*/ 20383 h 22383"/>
                <a:gd name="connsiteX2" fmla="*/ 8001 w 8000"/>
                <a:gd name="connsiteY2" fmla="*/ 2000 h 22383"/>
                <a:gd name="connsiteX3" fmla="*/ 6001 w 8000"/>
                <a:gd name="connsiteY3" fmla="*/ 0 h 22383"/>
                <a:gd name="connsiteX4" fmla="*/ 2000 w 8000"/>
                <a:gd name="connsiteY4" fmla="*/ 0 h 22383"/>
                <a:gd name="connsiteX5" fmla="*/ 0 w 8000"/>
                <a:gd name="connsiteY5" fmla="*/ 2000 h 22383"/>
                <a:gd name="connsiteX6" fmla="*/ 0 w 8000"/>
                <a:gd name="connsiteY6" fmla="*/ 20383 h 22383"/>
                <a:gd name="connsiteX7" fmla="*/ 2000 w 8000"/>
                <a:gd name="connsiteY7" fmla="*/ 22384 h 22383"/>
                <a:gd name="connsiteX8" fmla="*/ 6001 w 8000"/>
                <a:gd name="connsiteY8" fmla="*/ 22384 h 22383"/>
                <a:gd name="connsiteX9" fmla="*/ 6001 w 8000"/>
                <a:gd name="connsiteY9" fmla="*/ 22384 h 2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00" h="22383">
                  <a:moveTo>
                    <a:pt x="6001" y="22384"/>
                  </a:moveTo>
                  <a:cubicBezTo>
                    <a:pt x="7144" y="22384"/>
                    <a:pt x="8001" y="21526"/>
                    <a:pt x="8001" y="20383"/>
                  </a:cubicBezTo>
                  <a:lnTo>
                    <a:pt x="8001" y="2000"/>
                  </a:lnTo>
                  <a:cubicBezTo>
                    <a:pt x="8001" y="857"/>
                    <a:pt x="7144" y="0"/>
                    <a:pt x="6001" y="0"/>
                  </a:cubicBezTo>
                  <a:lnTo>
                    <a:pt x="2000" y="0"/>
                  </a:lnTo>
                  <a:cubicBezTo>
                    <a:pt x="857" y="0"/>
                    <a:pt x="0" y="857"/>
                    <a:pt x="0" y="2000"/>
                  </a:cubicBezTo>
                  <a:lnTo>
                    <a:pt x="0" y="20383"/>
                  </a:lnTo>
                  <a:cubicBezTo>
                    <a:pt x="0" y="21526"/>
                    <a:pt x="857" y="22384"/>
                    <a:pt x="2000" y="22384"/>
                  </a:cubicBezTo>
                  <a:lnTo>
                    <a:pt x="6001" y="22384"/>
                  </a:lnTo>
                  <a:lnTo>
                    <a:pt x="6001" y="2238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D8C35D8A-77CA-5EBF-B094-1110A30A89DD}"/>
                </a:ext>
              </a:extLst>
            </p:cNvPr>
            <p:cNvSpPr/>
            <p:nvPr/>
          </p:nvSpPr>
          <p:spPr>
            <a:xfrm>
              <a:off x="5988893" y="2934638"/>
              <a:ext cx="19621" cy="35909"/>
            </a:xfrm>
            <a:custGeom>
              <a:avLst/>
              <a:gdLst>
                <a:gd name="connsiteX0" fmla="*/ 19621 w 19621"/>
                <a:gd name="connsiteY0" fmla="*/ 35909 h 35909"/>
                <a:gd name="connsiteX1" fmla="*/ 19621 w 19621"/>
                <a:gd name="connsiteY1" fmla="*/ 0 h 35909"/>
                <a:gd name="connsiteX2" fmla="*/ 0 w 19621"/>
                <a:gd name="connsiteY2" fmla="*/ 0 h 35909"/>
                <a:gd name="connsiteX3" fmla="*/ 0 w 19621"/>
                <a:gd name="connsiteY3" fmla="*/ 35909 h 35909"/>
                <a:gd name="connsiteX4" fmla="*/ 19621 w 19621"/>
                <a:gd name="connsiteY4" fmla="*/ 35909 h 3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21" h="35909">
                  <a:moveTo>
                    <a:pt x="19621" y="35909"/>
                  </a:moveTo>
                  <a:lnTo>
                    <a:pt x="19621" y="0"/>
                  </a:lnTo>
                  <a:lnTo>
                    <a:pt x="0" y="0"/>
                  </a:lnTo>
                  <a:lnTo>
                    <a:pt x="0" y="35909"/>
                  </a:lnTo>
                  <a:lnTo>
                    <a:pt x="19621" y="35909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0278B323-E24D-F4EE-8187-7CF92E04F323}"/>
                </a:ext>
              </a:extLst>
            </p:cNvPr>
            <p:cNvSpPr/>
            <p:nvPr/>
          </p:nvSpPr>
          <p:spPr>
            <a:xfrm>
              <a:off x="5576746" y="2689274"/>
              <a:ext cx="366617" cy="143065"/>
            </a:xfrm>
            <a:custGeom>
              <a:avLst/>
              <a:gdLst>
                <a:gd name="connsiteX0" fmla="*/ 157067 w 366617"/>
                <a:gd name="connsiteY0" fmla="*/ 121253 h 143065"/>
                <a:gd name="connsiteX1" fmla="*/ 157067 w 366617"/>
                <a:gd name="connsiteY1" fmla="*/ 143066 h 143065"/>
                <a:gd name="connsiteX2" fmla="*/ 0 w 366617"/>
                <a:gd name="connsiteY2" fmla="*/ 143066 h 143065"/>
                <a:gd name="connsiteX3" fmla="*/ 0 w 366617"/>
                <a:gd name="connsiteY3" fmla="*/ 0 h 143065"/>
                <a:gd name="connsiteX4" fmla="*/ 157067 w 366617"/>
                <a:gd name="connsiteY4" fmla="*/ 0 h 143065"/>
                <a:gd name="connsiteX5" fmla="*/ 157067 w 366617"/>
                <a:gd name="connsiteY5" fmla="*/ 21336 h 143065"/>
                <a:gd name="connsiteX6" fmla="*/ 366617 w 366617"/>
                <a:gd name="connsiteY6" fmla="*/ 21336 h 143065"/>
                <a:gd name="connsiteX7" fmla="*/ 366617 w 366617"/>
                <a:gd name="connsiteY7" fmla="*/ 121253 h 143065"/>
                <a:gd name="connsiteX8" fmla="*/ 157067 w 366617"/>
                <a:gd name="connsiteY8" fmla="*/ 121253 h 143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6617" h="143065">
                  <a:moveTo>
                    <a:pt x="157067" y="121253"/>
                  </a:moveTo>
                  <a:lnTo>
                    <a:pt x="157067" y="143066"/>
                  </a:lnTo>
                  <a:lnTo>
                    <a:pt x="0" y="143066"/>
                  </a:lnTo>
                  <a:lnTo>
                    <a:pt x="0" y="0"/>
                  </a:lnTo>
                  <a:lnTo>
                    <a:pt x="157067" y="0"/>
                  </a:lnTo>
                  <a:lnTo>
                    <a:pt x="157067" y="21336"/>
                  </a:lnTo>
                  <a:lnTo>
                    <a:pt x="366617" y="21336"/>
                  </a:lnTo>
                  <a:lnTo>
                    <a:pt x="366617" y="121253"/>
                  </a:lnTo>
                  <a:lnTo>
                    <a:pt x="157067" y="121253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13F9B4B-D465-42C6-06F7-E3FD63CDCA05}"/>
                </a:ext>
              </a:extLst>
            </p:cNvPr>
            <p:cNvSpPr/>
            <p:nvPr/>
          </p:nvSpPr>
          <p:spPr>
            <a:xfrm>
              <a:off x="5446920" y="2911969"/>
              <a:ext cx="554354" cy="78866"/>
            </a:xfrm>
            <a:custGeom>
              <a:avLst/>
              <a:gdLst>
                <a:gd name="connsiteX0" fmla="*/ 534638 w 554354"/>
                <a:gd name="connsiteY0" fmla="*/ 78867 h 78866"/>
                <a:gd name="connsiteX1" fmla="*/ 554355 w 554354"/>
                <a:gd name="connsiteY1" fmla="*/ 59150 h 78866"/>
                <a:gd name="connsiteX2" fmla="*/ 554355 w 554354"/>
                <a:gd name="connsiteY2" fmla="*/ 19717 h 78866"/>
                <a:gd name="connsiteX3" fmla="*/ 534638 w 554354"/>
                <a:gd name="connsiteY3" fmla="*/ 0 h 78866"/>
                <a:gd name="connsiteX4" fmla="*/ 19717 w 554354"/>
                <a:gd name="connsiteY4" fmla="*/ 0 h 78866"/>
                <a:gd name="connsiteX5" fmla="*/ 0 w 554354"/>
                <a:gd name="connsiteY5" fmla="*/ 19717 h 78866"/>
                <a:gd name="connsiteX6" fmla="*/ 0 w 554354"/>
                <a:gd name="connsiteY6" fmla="*/ 59150 h 78866"/>
                <a:gd name="connsiteX7" fmla="*/ 19717 w 554354"/>
                <a:gd name="connsiteY7" fmla="*/ 78867 h 78866"/>
                <a:gd name="connsiteX8" fmla="*/ 534638 w 554354"/>
                <a:gd name="connsiteY8" fmla="*/ 78867 h 78866"/>
                <a:gd name="connsiteX9" fmla="*/ 534638 w 554354"/>
                <a:gd name="connsiteY9" fmla="*/ 78867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4354" h="78866">
                  <a:moveTo>
                    <a:pt x="534638" y="78867"/>
                  </a:moveTo>
                  <a:cubicBezTo>
                    <a:pt x="545497" y="78867"/>
                    <a:pt x="554355" y="70009"/>
                    <a:pt x="554355" y="59150"/>
                  </a:cubicBezTo>
                  <a:lnTo>
                    <a:pt x="554355" y="19717"/>
                  </a:lnTo>
                  <a:cubicBezTo>
                    <a:pt x="554355" y="8858"/>
                    <a:pt x="545497" y="0"/>
                    <a:pt x="534638" y="0"/>
                  </a:cubicBezTo>
                  <a:lnTo>
                    <a:pt x="19717" y="0"/>
                  </a:lnTo>
                  <a:cubicBezTo>
                    <a:pt x="8858" y="0"/>
                    <a:pt x="0" y="8858"/>
                    <a:pt x="0" y="19717"/>
                  </a:cubicBezTo>
                  <a:lnTo>
                    <a:pt x="0" y="59150"/>
                  </a:lnTo>
                  <a:cubicBezTo>
                    <a:pt x="0" y="70009"/>
                    <a:pt x="8858" y="78867"/>
                    <a:pt x="19717" y="78867"/>
                  </a:cubicBezTo>
                  <a:lnTo>
                    <a:pt x="534638" y="78867"/>
                  </a:lnTo>
                  <a:lnTo>
                    <a:pt x="534638" y="78867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3ABF2CBB-8D08-5117-1649-7901EF547488}"/>
                </a:ext>
              </a:extLst>
            </p:cNvPr>
            <p:cNvSpPr/>
            <p:nvPr/>
          </p:nvSpPr>
          <p:spPr>
            <a:xfrm>
              <a:off x="5487401" y="2905778"/>
              <a:ext cx="16478" cy="92297"/>
            </a:xfrm>
            <a:custGeom>
              <a:avLst/>
              <a:gdLst>
                <a:gd name="connsiteX0" fmla="*/ 16478 w 16478"/>
                <a:gd name="connsiteY0" fmla="*/ 92297 h 92297"/>
                <a:gd name="connsiteX1" fmla="*/ 16478 w 16478"/>
                <a:gd name="connsiteY1" fmla="*/ 0 h 92297"/>
                <a:gd name="connsiteX2" fmla="*/ 0 w 16478"/>
                <a:gd name="connsiteY2" fmla="*/ 0 h 92297"/>
                <a:gd name="connsiteX3" fmla="*/ 0 w 16478"/>
                <a:gd name="connsiteY3" fmla="*/ 92297 h 92297"/>
                <a:gd name="connsiteX4" fmla="*/ 16478 w 16478"/>
                <a:gd name="connsiteY4" fmla="*/ 92297 h 9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78" h="92297">
                  <a:moveTo>
                    <a:pt x="16478" y="92297"/>
                  </a:moveTo>
                  <a:lnTo>
                    <a:pt x="16478" y="0"/>
                  </a:lnTo>
                  <a:lnTo>
                    <a:pt x="0" y="0"/>
                  </a:lnTo>
                  <a:lnTo>
                    <a:pt x="0" y="92297"/>
                  </a:lnTo>
                  <a:lnTo>
                    <a:pt x="16478" y="92297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62F5481F-04C0-FD30-D73D-7377101A21EF}"/>
                </a:ext>
              </a:extLst>
            </p:cNvPr>
            <p:cNvSpPr/>
            <p:nvPr/>
          </p:nvSpPr>
          <p:spPr>
            <a:xfrm>
              <a:off x="5506547" y="3022459"/>
              <a:ext cx="470820" cy="66579"/>
            </a:xfrm>
            <a:custGeom>
              <a:avLst/>
              <a:gdLst>
                <a:gd name="connsiteX0" fmla="*/ 464725 w 470820"/>
                <a:gd name="connsiteY0" fmla="*/ 5715 h 66579"/>
                <a:gd name="connsiteX1" fmla="*/ 470821 w 470820"/>
                <a:gd name="connsiteY1" fmla="*/ 34004 h 66579"/>
                <a:gd name="connsiteX2" fmla="*/ 464725 w 470820"/>
                <a:gd name="connsiteY2" fmla="*/ 62293 h 66579"/>
                <a:gd name="connsiteX3" fmla="*/ 464725 w 470820"/>
                <a:gd name="connsiteY3" fmla="*/ 66580 h 66579"/>
                <a:gd name="connsiteX4" fmla="*/ 454819 w 470820"/>
                <a:gd name="connsiteY4" fmla="*/ 66580 h 66579"/>
                <a:gd name="connsiteX5" fmla="*/ 454819 w 470820"/>
                <a:gd name="connsiteY5" fmla="*/ 62103 h 66579"/>
                <a:gd name="connsiteX6" fmla="*/ 15716 w 470820"/>
                <a:gd name="connsiteY6" fmla="*/ 62103 h 66579"/>
                <a:gd name="connsiteX7" fmla="*/ 15716 w 470820"/>
                <a:gd name="connsiteY7" fmla="*/ 66580 h 66579"/>
                <a:gd name="connsiteX8" fmla="*/ 5810 w 470820"/>
                <a:gd name="connsiteY8" fmla="*/ 66580 h 66579"/>
                <a:gd name="connsiteX9" fmla="*/ 5810 w 470820"/>
                <a:gd name="connsiteY9" fmla="*/ 61913 h 66579"/>
                <a:gd name="connsiteX10" fmla="*/ 0 w 470820"/>
                <a:gd name="connsiteY10" fmla="*/ 34195 h 66579"/>
                <a:gd name="connsiteX11" fmla="*/ 5810 w 470820"/>
                <a:gd name="connsiteY11" fmla="*/ 6477 h 66579"/>
                <a:gd name="connsiteX12" fmla="*/ 5810 w 470820"/>
                <a:gd name="connsiteY12" fmla="*/ 0 h 66579"/>
                <a:gd name="connsiteX13" fmla="*/ 15716 w 470820"/>
                <a:gd name="connsiteY13" fmla="*/ 0 h 66579"/>
                <a:gd name="connsiteX14" fmla="*/ 15716 w 470820"/>
                <a:gd name="connsiteY14" fmla="*/ 4477 h 66579"/>
                <a:gd name="connsiteX15" fmla="*/ 454819 w 470820"/>
                <a:gd name="connsiteY15" fmla="*/ 4477 h 66579"/>
                <a:gd name="connsiteX16" fmla="*/ 454819 w 470820"/>
                <a:gd name="connsiteY16" fmla="*/ 0 h 66579"/>
                <a:gd name="connsiteX17" fmla="*/ 464725 w 470820"/>
                <a:gd name="connsiteY17" fmla="*/ 0 h 66579"/>
                <a:gd name="connsiteX18" fmla="*/ 464725 w 470820"/>
                <a:gd name="connsiteY18" fmla="*/ 5715 h 66579"/>
                <a:gd name="connsiteX19" fmla="*/ 464725 w 470820"/>
                <a:gd name="connsiteY19" fmla="*/ 5715 h 6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70820" h="66579">
                  <a:moveTo>
                    <a:pt x="464725" y="5715"/>
                  </a:moveTo>
                  <a:cubicBezTo>
                    <a:pt x="468439" y="12287"/>
                    <a:pt x="470821" y="22479"/>
                    <a:pt x="470821" y="34004"/>
                  </a:cubicBezTo>
                  <a:cubicBezTo>
                    <a:pt x="470821" y="45529"/>
                    <a:pt x="468439" y="55721"/>
                    <a:pt x="464725" y="62293"/>
                  </a:cubicBezTo>
                  <a:lnTo>
                    <a:pt x="464725" y="66580"/>
                  </a:lnTo>
                  <a:lnTo>
                    <a:pt x="454819" y="66580"/>
                  </a:lnTo>
                  <a:lnTo>
                    <a:pt x="454819" y="62103"/>
                  </a:lnTo>
                  <a:lnTo>
                    <a:pt x="15716" y="62103"/>
                  </a:lnTo>
                  <a:lnTo>
                    <a:pt x="15716" y="66580"/>
                  </a:lnTo>
                  <a:lnTo>
                    <a:pt x="5810" y="66580"/>
                  </a:lnTo>
                  <a:lnTo>
                    <a:pt x="5810" y="61913"/>
                  </a:lnTo>
                  <a:cubicBezTo>
                    <a:pt x="2286" y="55340"/>
                    <a:pt x="0" y="45339"/>
                    <a:pt x="0" y="34195"/>
                  </a:cubicBezTo>
                  <a:cubicBezTo>
                    <a:pt x="0" y="23050"/>
                    <a:pt x="2286" y="13049"/>
                    <a:pt x="5810" y="6477"/>
                  </a:cubicBezTo>
                  <a:lnTo>
                    <a:pt x="5810" y="0"/>
                  </a:lnTo>
                  <a:lnTo>
                    <a:pt x="15716" y="0"/>
                  </a:lnTo>
                  <a:lnTo>
                    <a:pt x="15716" y="4477"/>
                  </a:lnTo>
                  <a:lnTo>
                    <a:pt x="454819" y="4477"/>
                  </a:lnTo>
                  <a:lnTo>
                    <a:pt x="454819" y="0"/>
                  </a:lnTo>
                  <a:lnTo>
                    <a:pt x="464725" y="0"/>
                  </a:lnTo>
                  <a:lnTo>
                    <a:pt x="464725" y="5715"/>
                  </a:lnTo>
                  <a:lnTo>
                    <a:pt x="464725" y="5715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9CCB593-0365-A3DB-63C0-272D2244AEC5}"/>
                </a:ext>
              </a:extLst>
            </p:cNvPr>
            <p:cNvSpPr/>
            <p:nvPr/>
          </p:nvSpPr>
          <p:spPr>
            <a:xfrm>
              <a:off x="5896786" y="2865201"/>
              <a:ext cx="32956" cy="36290"/>
            </a:xfrm>
            <a:custGeom>
              <a:avLst/>
              <a:gdLst>
                <a:gd name="connsiteX0" fmla="*/ 32956 w 32956"/>
                <a:gd name="connsiteY0" fmla="*/ 36290 h 36290"/>
                <a:gd name="connsiteX1" fmla="*/ 32956 w 32956"/>
                <a:gd name="connsiteY1" fmla="*/ 0 h 36290"/>
                <a:gd name="connsiteX2" fmla="*/ 0 w 32956"/>
                <a:gd name="connsiteY2" fmla="*/ 0 h 36290"/>
                <a:gd name="connsiteX3" fmla="*/ 0 w 32956"/>
                <a:gd name="connsiteY3" fmla="*/ 36290 h 36290"/>
                <a:gd name="connsiteX4" fmla="*/ 32956 w 32956"/>
                <a:gd name="connsiteY4" fmla="*/ 36290 h 3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956" h="36290">
                  <a:moveTo>
                    <a:pt x="32956" y="36290"/>
                  </a:moveTo>
                  <a:lnTo>
                    <a:pt x="32956" y="0"/>
                  </a:lnTo>
                  <a:lnTo>
                    <a:pt x="0" y="0"/>
                  </a:lnTo>
                  <a:lnTo>
                    <a:pt x="0" y="36290"/>
                  </a:lnTo>
                  <a:lnTo>
                    <a:pt x="32956" y="36290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B0DF5563-54C1-66C8-43B4-80A2E8365CBA}"/>
                </a:ext>
              </a:extLst>
            </p:cNvPr>
            <p:cNvSpPr/>
            <p:nvPr/>
          </p:nvSpPr>
          <p:spPr>
            <a:xfrm>
              <a:off x="5606369" y="2864915"/>
              <a:ext cx="262223" cy="32384"/>
            </a:xfrm>
            <a:custGeom>
              <a:avLst/>
              <a:gdLst>
                <a:gd name="connsiteX0" fmla="*/ 262223 w 262223"/>
                <a:gd name="connsiteY0" fmla="*/ 32385 h 32384"/>
                <a:gd name="connsiteX1" fmla="*/ 262223 w 262223"/>
                <a:gd name="connsiteY1" fmla="*/ 0 h 32384"/>
                <a:gd name="connsiteX2" fmla="*/ 0 w 262223"/>
                <a:gd name="connsiteY2" fmla="*/ 0 h 32384"/>
                <a:gd name="connsiteX3" fmla="*/ 0 w 262223"/>
                <a:gd name="connsiteY3" fmla="*/ 32385 h 32384"/>
                <a:gd name="connsiteX4" fmla="*/ 262223 w 262223"/>
                <a:gd name="connsiteY4" fmla="*/ 32385 h 3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23" h="32384">
                  <a:moveTo>
                    <a:pt x="262223" y="32385"/>
                  </a:moveTo>
                  <a:lnTo>
                    <a:pt x="262223" y="0"/>
                  </a:lnTo>
                  <a:lnTo>
                    <a:pt x="0" y="0"/>
                  </a:lnTo>
                  <a:lnTo>
                    <a:pt x="0" y="32385"/>
                  </a:lnTo>
                  <a:lnTo>
                    <a:pt x="262223" y="32385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39144542-940B-04D1-1D5A-4F0BC960356E}"/>
                </a:ext>
              </a:extLst>
            </p:cNvPr>
            <p:cNvSpPr/>
            <p:nvPr/>
          </p:nvSpPr>
          <p:spPr>
            <a:xfrm>
              <a:off x="5842017" y="2702038"/>
              <a:ext cx="25050" cy="31527"/>
            </a:xfrm>
            <a:custGeom>
              <a:avLst/>
              <a:gdLst>
                <a:gd name="connsiteX0" fmla="*/ 25051 w 25050"/>
                <a:gd name="connsiteY0" fmla="*/ 31528 h 31527"/>
                <a:gd name="connsiteX1" fmla="*/ 25051 w 25050"/>
                <a:gd name="connsiteY1" fmla="*/ 0 h 31527"/>
                <a:gd name="connsiteX2" fmla="*/ 0 w 25050"/>
                <a:gd name="connsiteY2" fmla="*/ 0 h 31527"/>
                <a:gd name="connsiteX3" fmla="*/ 0 w 25050"/>
                <a:gd name="connsiteY3" fmla="*/ 31528 h 31527"/>
                <a:gd name="connsiteX4" fmla="*/ 25051 w 25050"/>
                <a:gd name="connsiteY4" fmla="*/ 31528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50" h="31527">
                  <a:moveTo>
                    <a:pt x="25051" y="31528"/>
                  </a:moveTo>
                  <a:lnTo>
                    <a:pt x="25051" y="0"/>
                  </a:lnTo>
                  <a:lnTo>
                    <a:pt x="0" y="0"/>
                  </a:lnTo>
                  <a:lnTo>
                    <a:pt x="0" y="31528"/>
                  </a:lnTo>
                  <a:lnTo>
                    <a:pt x="25051" y="31528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1984A690-3375-1C5B-8280-3F6A7F958DA9}"/>
                </a:ext>
              </a:extLst>
            </p:cNvPr>
            <p:cNvSpPr/>
            <p:nvPr/>
          </p:nvSpPr>
          <p:spPr>
            <a:xfrm>
              <a:off x="5613989" y="2716040"/>
              <a:ext cx="90773" cy="20859"/>
            </a:xfrm>
            <a:custGeom>
              <a:avLst/>
              <a:gdLst>
                <a:gd name="connsiteX0" fmla="*/ 90773 w 90773"/>
                <a:gd name="connsiteY0" fmla="*/ 20860 h 20859"/>
                <a:gd name="connsiteX1" fmla="*/ 90773 w 90773"/>
                <a:gd name="connsiteY1" fmla="*/ 0 h 20859"/>
                <a:gd name="connsiteX2" fmla="*/ 0 w 90773"/>
                <a:gd name="connsiteY2" fmla="*/ 0 h 20859"/>
                <a:gd name="connsiteX3" fmla="*/ 0 w 90773"/>
                <a:gd name="connsiteY3" fmla="*/ 20860 h 20859"/>
                <a:gd name="connsiteX4" fmla="*/ 90773 w 90773"/>
                <a:gd name="connsiteY4" fmla="*/ 20860 h 20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773" h="20859">
                  <a:moveTo>
                    <a:pt x="90773" y="20860"/>
                  </a:moveTo>
                  <a:lnTo>
                    <a:pt x="90773" y="0"/>
                  </a:lnTo>
                  <a:lnTo>
                    <a:pt x="0" y="0"/>
                  </a:lnTo>
                  <a:lnTo>
                    <a:pt x="0" y="20860"/>
                  </a:lnTo>
                  <a:lnTo>
                    <a:pt x="90773" y="2086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04A8407B-84ED-FB4A-8EA0-4D6BBE33AC0D}"/>
                </a:ext>
              </a:extLst>
            </p:cNvPr>
            <p:cNvSpPr/>
            <p:nvPr/>
          </p:nvSpPr>
          <p:spPr>
            <a:xfrm>
              <a:off x="5719335" y="2747186"/>
              <a:ext cx="39052" cy="25527"/>
            </a:xfrm>
            <a:custGeom>
              <a:avLst/>
              <a:gdLst>
                <a:gd name="connsiteX0" fmla="*/ 39052 w 39052"/>
                <a:gd name="connsiteY0" fmla="*/ 25527 h 25527"/>
                <a:gd name="connsiteX1" fmla="*/ 39052 w 39052"/>
                <a:gd name="connsiteY1" fmla="*/ 0 h 25527"/>
                <a:gd name="connsiteX2" fmla="*/ 0 w 39052"/>
                <a:gd name="connsiteY2" fmla="*/ 0 h 25527"/>
                <a:gd name="connsiteX3" fmla="*/ 0 w 39052"/>
                <a:gd name="connsiteY3" fmla="*/ 25527 h 25527"/>
                <a:gd name="connsiteX4" fmla="*/ 39052 w 39052"/>
                <a:gd name="connsiteY4" fmla="*/ 25527 h 2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52" h="25527">
                  <a:moveTo>
                    <a:pt x="39052" y="25527"/>
                  </a:moveTo>
                  <a:lnTo>
                    <a:pt x="39052" y="0"/>
                  </a:lnTo>
                  <a:lnTo>
                    <a:pt x="0" y="0"/>
                  </a:lnTo>
                  <a:lnTo>
                    <a:pt x="0" y="25527"/>
                  </a:lnTo>
                  <a:lnTo>
                    <a:pt x="39052" y="25527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1D0F3DF2-8EBB-4376-87D6-AFC3D7D886AD}"/>
                </a:ext>
              </a:extLst>
            </p:cNvPr>
            <p:cNvSpPr/>
            <p:nvPr/>
          </p:nvSpPr>
          <p:spPr>
            <a:xfrm>
              <a:off x="5702952" y="2753949"/>
              <a:ext cx="71151" cy="12001"/>
            </a:xfrm>
            <a:custGeom>
              <a:avLst/>
              <a:gdLst>
                <a:gd name="connsiteX0" fmla="*/ 71152 w 71151"/>
                <a:gd name="connsiteY0" fmla="*/ 12002 h 12001"/>
                <a:gd name="connsiteX1" fmla="*/ 71152 w 71151"/>
                <a:gd name="connsiteY1" fmla="*/ 0 h 12001"/>
                <a:gd name="connsiteX2" fmla="*/ 0 w 71151"/>
                <a:gd name="connsiteY2" fmla="*/ 0 h 12001"/>
                <a:gd name="connsiteX3" fmla="*/ 0 w 71151"/>
                <a:gd name="connsiteY3" fmla="*/ 12002 h 12001"/>
                <a:gd name="connsiteX4" fmla="*/ 71152 w 71151"/>
                <a:gd name="connsiteY4" fmla="*/ 12002 h 1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151" h="12001">
                  <a:moveTo>
                    <a:pt x="71152" y="12002"/>
                  </a:moveTo>
                  <a:lnTo>
                    <a:pt x="71152" y="0"/>
                  </a:lnTo>
                  <a:lnTo>
                    <a:pt x="0" y="0"/>
                  </a:lnTo>
                  <a:lnTo>
                    <a:pt x="0" y="12002"/>
                  </a:lnTo>
                  <a:lnTo>
                    <a:pt x="71152" y="12002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B9A8F7DE-D36B-43B3-A85B-932EFA49EE39}"/>
                </a:ext>
              </a:extLst>
            </p:cNvPr>
            <p:cNvSpPr/>
            <p:nvPr/>
          </p:nvSpPr>
          <p:spPr>
            <a:xfrm>
              <a:off x="5884022" y="2731565"/>
              <a:ext cx="53816" cy="56673"/>
            </a:xfrm>
            <a:custGeom>
              <a:avLst/>
              <a:gdLst>
                <a:gd name="connsiteX0" fmla="*/ 53816 w 53816"/>
                <a:gd name="connsiteY0" fmla="*/ 56674 h 56673"/>
                <a:gd name="connsiteX1" fmla="*/ 53816 w 53816"/>
                <a:gd name="connsiteY1" fmla="*/ 0 h 56673"/>
                <a:gd name="connsiteX2" fmla="*/ 0 w 53816"/>
                <a:gd name="connsiteY2" fmla="*/ 0 h 56673"/>
                <a:gd name="connsiteX3" fmla="*/ 0 w 53816"/>
                <a:gd name="connsiteY3" fmla="*/ 56674 h 56673"/>
                <a:gd name="connsiteX4" fmla="*/ 53816 w 53816"/>
                <a:gd name="connsiteY4" fmla="*/ 56674 h 5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16" h="56673">
                  <a:moveTo>
                    <a:pt x="53816" y="56674"/>
                  </a:moveTo>
                  <a:lnTo>
                    <a:pt x="53816" y="0"/>
                  </a:lnTo>
                  <a:lnTo>
                    <a:pt x="0" y="0"/>
                  </a:lnTo>
                  <a:lnTo>
                    <a:pt x="0" y="56674"/>
                  </a:lnTo>
                  <a:lnTo>
                    <a:pt x="53816" y="5667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438E124F-12C4-EC1A-2D10-DA9316043E15}"/>
                </a:ext>
              </a:extLst>
            </p:cNvPr>
            <p:cNvSpPr/>
            <p:nvPr/>
          </p:nvSpPr>
          <p:spPr>
            <a:xfrm>
              <a:off x="5609321" y="2722612"/>
              <a:ext cx="98107" cy="78009"/>
            </a:xfrm>
            <a:custGeom>
              <a:avLst/>
              <a:gdLst>
                <a:gd name="connsiteX0" fmla="*/ 98108 w 98107"/>
                <a:gd name="connsiteY0" fmla="*/ 78010 h 78009"/>
                <a:gd name="connsiteX1" fmla="*/ 98108 w 98107"/>
                <a:gd name="connsiteY1" fmla="*/ 0 h 78009"/>
                <a:gd name="connsiteX2" fmla="*/ 0 w 98107"/>
                <a:gd name="connsiteY2" fmla="*/ 0 h 78009"/>
                <a:gd name="connsiteX3" fmla="*/ 0 w 98107"/>
                <a:gd name="connsiteY3" fmla="*/ 78010 h 78009"/>
                <a:gd name="connsiteX4" fmla="*/ 98108 w 98107"/>
                <a:gd name="connsiteY4" fmla="*/ 78010 h 78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107" h="78009">
                  <a:moveTo>
                    <a:pt x="98108" y="78010"/>
                  </a:moveTo>
                  <a:lnTo>
                    <a:pt x="98108" y="0"/>
                  </a:lnTo>
                  <a:lnTo>
                    <a:pt x="0" y="0"/>
                  </a:lnTo>
                  <a:lnTo>
                    <a:pt x="0" y="78010"/>
                  </a:lnTo>
                  <a:lnTo>
                    <a:pt x="98108" y="7801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4EE07441-B3B2-63BA-B45E-F151D1764D7D}"/>
                </a:ext>
              </a:extLst>
            </p:cNvPr>
            <p:cNvSpPr/>
            <p:nvPr/>
          </p:nvSpPr>
          <p:spPr>
            <a:xfrm>
              <a:off x="5767817" y="2723469"/>
              <a:ext cx="124967" cy="75533"/>
            </a:xfrm>
            <a:custGeom>
              <a:avLst/>
              <a:gdLst>
                <a:gd name="connsiteX0" fmla="*/ 124968 w 124967"/>
                <a:gd name="connsiteY0" fmla="*/ 75533 h 75533"/>
                <a:gd name="connsiteX1" fmla="*/ 124968 w 124967"/>
                <a:gd name="connsiteY1" fmla="*/ 0 h 75533"/>
                <a:gd name="connsiteX2" fmla="*/ 0 w 124967"/>
                <a:gd name="connsiteY2" fmla="*/ 0 h 75533"/>
                <a:gd name="connsiteX3" fmla="*/ 0 w 124967"/>
                <a:gd name="connsiteY3" fmla="*/ 75533 h 75533"/>
                <a:gd name="connsiteX4" fmla="*/ 124968 w 124967"/>
                <a:gd name="connsiteY4" fmla="*/ 75533 h 7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67" h="75533">
                  <a:moveTo>
                    <a:pt x="124968" y="75533"/>
                  </a:moveTo>
                  <a:lnTo>
                    <a:pt x="124968" y="0"/>
                  </a:lnTo>
                  <a:lnTo>
                    <a:pt x="0" y="0"/>
                  </a:lnTo>
                  <a:lnTo>
                    <a:pt x="0" y="75533"/>
                  </a:lnTo>
                  <a:lnTo>
                    <a:pt x="124968" y="75533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2DF97FEF-62F7-2110-2C56-41DABBB3F541}"/>
                </a:ext>
              </a:extLst>
            </p:cNvPr>
            <p:cNvSpPr/>
            <p:nvPr/>
          </p:nvSpPr>
          <p:spPr>
            <a:xfrm>
              <a:off x="5656661" y="2735471"/>
              <a:ext cx="48577" cy="48577"/>
            </a:xfrm>
            <a:custGeom>
              <a:avLst/>
              <a:gdLst>
                <a:gd name="connsiteX0" fmla="*/ 48578 w 48577"/>
                <a:gd name="connsiteY0" fmla="*/ 24289 h 48577"/>
                <a:gd name="connsiteX1" fmla="*/ 24289 w 48577"/>
                <a:gd name="connsiteY1" fmla="*/ 48577 h 48577"/>
                <a:gd name="connsiteX2" fmla="*/ 0 w 48577"/>
                <a:gd name="connsiteY2" fmla="*/ 24289 h 48577"/>
                <a:gd name="connsiteX3" fmla="*/ 24289 w 48577"/>
                <a:gd name="connsiteY3" fmla="*/ 0 h 48577"/>
                <a:gd name="connsiteX4" fmla="*/ 48578 w 48577"/>
                <a:gd name="connsiteY4" fmla="*/ 24289 h 48577"/>
                <a:gd name="connsiteX5" fmla="*/ 48578 w 48577"/>
                <a:gd name="connsiteY5" fmla="*/ 24289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8577">
                  <a:moveTo>
                    <a:pt x="48578" y="24289"/>
                  </a:moveTo>
                  <a:cubicBezTo>
                    <a:pt x="48578" y="37719"/>
                    <a:pt x="37719" y="48577"/>
                    <a:pt x="24289" y="48577"/>
                  </a:cubicBezTo>
                  <a:cubicBezTo>
                    <a:pt x="10858" y="48577"/>
                    <a:pt x="0" y="37624"/>
                    <a:pt x="0" y="24289"/>
                  </a:cubicBezTo>
                  <a:cubicBezTo>
                    <a:pt x="0" y="10858"/>
                    <a:pt x="10858" y="0"/>
                    <a:pt x="24289" y="0"/>
                  </a:cubicBezTo>
                  <a:cubicBezTo>
                    <a:pt x="37719" y="0"/>
                    <a:pt x="48578" y="10858"/>
                    <a:pt x="48578" y="24289"/>
                  </a:cubicBezTo>
                  <a:lnTo>
                    <a:pt x="48578" y="2428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CEE5BC9C-1852-96B7-02FB-D2B24683D9BB}"/>
                </a:ext>
              </a:extLst>
            </p:cNvPr>
            <p:cNvSpPr/>
            <p:nvPr/>
          </p:nvSpPr>
          <p:spPr>
            <a:xfrm>
              <a:off x="5718192" y="2927780"/>
              <a:ext cx="48577" cy="48577"/>
            </a:xfrm>
            <a:custGeom>
              <a:avLst/>
              <a:gdLst>
                <a:gd name="connsiteX0" fmla="*/ 48577 w 48577"/>
                <a:gd name="connsiteY0" fmla="*/ 24289 h 48577"/>
                <a:gd name="connsiteX1" fmla="*/ 24289 w 48577"/>
                <a:gd name="connsiteY1" fmla="*/ 48577 h 48577"/>
                <a:gd name="connsiteX2" fmla="*/ 0 w 48577"/>
                <a:gd name="connsiteY2" fmla="*/ 24289 h 48577"/>
                <a:gd name="connsiteX3" fmla="*/ 24289 w 48577"/>
                <a:gd name="connsiteY3" fmla="*/ 0 h 48577"/>
                <a:gd name="connsiteX4" fmla="*/ 48577 w 48577"/>
                <a:gd name="connsiteY4" fmla="*/ 24289 h 48577"/>
                <a:gd name="connsiteX5" fmla="*/ 48577 w 48577"/>
                <a:gd name="connsiteY5" fmla="*/ 24289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8577">
                  <a:moveTo>
                    <a:pt x="48577" y="24289"/>
                  </a:moveTo>
                  <a:cubicBezTo>
                    <a:pt x="48577" y="37719"/>
                    <a:pt x="37719" y="48577"/>
                    <a:pt x="24289" y="48577"/>
                  </a:cubicBezTo>
                  <a:cubicBezTo>
                    <a:pt x="10858" y="48577"/>
                    <a:pt x="0" y="37719"/>
                    <a:pt x="0" y="24289"/>
                  </a:cubicBezTo>
                  <a:cubicBezTo>
                    <a:pt x="0" y="10858"/>
                    <a:pt x="10858" y="0"/>
                    <a:pt x="24289" y="0"/>
                  </a:cubicBezTo>
                  <a:cubicBezTo>
                    <a:pt x="37719" y="0"/>
                    <a:pt x="48577" y="10858"/>
                    <a:pt x="48577" y="24289"/>
                  </a:cubicBezTo>
                  <a:lnTo>
                    <a:pt x="48577" y="2428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C3FC0E0C-D830-A419-BC1C-150708FD51F6}"/>
                </a:ext>
              </a:extLst>
            </p:cNvPr>
            <p:cNvSpPr/>
            <p:nvPr/>
          </p:nvSpPr>
          <p:spPr>
            <a:xfrm>
              <a:off x="5609321" y="2771761"/>
              <a:ext cx="19431" cy="19430"/>
            </a:xfrm>
            <a:custGeom>
              <a:avLst/>
              <a:gdLst>
                <a:gd name="connsiteX0" fmla="*/ 19431 w 19431"/>
                <a:gd name="connsiteY0" fmla="*/ 9716 h 19430"/>
                <a:gd name="connsiteX1" fmla="*/ 9716 w 19431"/>
                <a:gd name="connsiteY1" fmla="*/ 19431 h 19430"/>
                <a:gd name="connsiteX2" fmla="*/ 0 w 19431"/>
                <a:gd name="connsiteY2" fmla="*/ 9716 h 19430"/>
                <a:gd name="connsiteX3" fmla="*/ 9716 w 19431"/>
                <a:gd name="connsiteY3" fmla="*/ 0 h 19430"/>
                <a:gd name="connsiteX4" fmla="*/ 19431 w 19431"/>
                <a:gd name="connsiteY4" fmla="*/ 9716 h 19430"/>
                <a:gd name="connsiteX5" fmla="*/ 19431 w 19431"/>
                <a:gd name="connsiteY5" fmla="*/ 9716 h 19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31" h="19430">
                  <a:moveTo>
                    <a:pt x="19431" y="9716"/>
                  </a:moveTo>
                  <a:cubicBezTo>
                    <a:pt x="19431" y="15050"/>
                    <a:pt x="15050" y="19431"/>
                    <a:pt x="9716" y="19431"/>
                  </a:cubicBezTo>
                  <a:cubicBezTo>
                    <a:pt x="4382" y="19431"/>
                    <a:pt x="0" y="15050"/>
                    <a:pt x="0" y="9716"/>
                  </a:cubicBezTo>
                  <a:cubicBezTo>
                    <a:pt x="0" y="4381"/>
                    <a:pt x="4382" y="0"/>
                    <a:pt x="9716" y="0"/>
                  </a:cubicBezTo>
                  <a:cubicBezTo>
                    <a:pt x="15145" y="0"/>
                    <a:pt x="19431" y="4381"/>
                    <a:pt x="19431" y="9716"/>
                  </a:cubicBezTo>
                  <a:lnTo>
                    <a:pt x="19431" y="971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173AD535-D115-4144-256D-AC9D1ACA31E6}"/>
                </a:ext>
              </a:extLst>
            </p:cNvPr>
            <p:cNvSpPr/>
            <p:nvPr/>
          </p:nvSpPr>
          <p:spPr>
            <a:xfrm>
              <a:off x="5915741" y="3045890"/>
              <a:ext cx="19431" cy="19431"/>
            </a:xfrm>
            <a:custGeom>
              <a:avLst/>
              <a:gdLst>
                <a:gd name="connsiteX0" fmla="*/ 19431 w 19431"/>
                <a:gd name="connsiteY0" fmla="*/ 9716 h 19431"/>
                <a:gd name="connsiteX1" fmla="*/ 9716 w 19431"/>
                <a:gd name="connsiteY1" fmla="*/ 19431 h 19431"/>
                <a:gd name="connsiteX2" fmla="*/ 0 w 19431"/>
                <a:gd name="connsiteY2" fmla="*/ 9716 h 19431"/>
                <a:gd name="connsiteX3" fmla="*/ 9716 w 19431"/>
                <a:gd name="connsiteY3" fmla="*/ 0 h 19431"/>
                <a:gd name="connsiteX4" fmla="*/ 19431 w 19431"/>
                <a:gd name="connsiteY4" fmla="*/ 9716 h 19431"/>
                <a:gd name="connsiteX5" fmla="*/ 19431 w 19431"/>
                <a:gd name="connsiteY5" fmla="*/ 9716 h 19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31" h="19431">
                  <a:moveTo>
                    <a:pt x="19431" y="9716"/>
                  </a:moveTo>
                  <a:cubicBezTo>
                    <a:pt x="19431" y="15050"/>
                    <a:pt x="15050" y="19431"/>
                    <a:pt x="9716" y="19431"/>
                  </a:cubicBezTo>
                  <a:cubicBezTo>
                    <a:pt x="4382" y="19431"/>
                    <a:pt x="0" y="15050"/>
                    <a:pt x="0" y="9716"/>
                  </a:cubicBezTo>
                  <a:cubicBezTo>
                    <a:pt x="0" y="4382"/>
                    <a:pt x="4382" y="0"/>
                    <a:pt x="9716" y="0"/>
                  </a:cubicBezTo>
                  <a:cubicBezTo>
                    <a:pt x="15145" y="95"/>
                    <a:pt x="19431" y="4382"/>
                    <a:pt x="19431" y="9716"/>
                  </a:cubicBezTo>
                  <a:lnTo>
                    <a:pt x="19431" y="971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780C6936-3DCD-E05D-946C-5D25A4F7A71A}"/>
                </a:ext>
              </a:extLst>
            </p:cNvPr>
            <p:cNvSpPr/>
            <p:nvPr/>
          </p:nvSpPr>
          <p:spPr>
            <a:xfrm>
              <a:off x="5801917" y="2938353"/>
              <a:ext cx="26670" cy="26669"/>
            </a:xfrm>
            <a:custGeom>
              <a:avLst/>
              <a:gdLst>
                <a:gd name="connsiteX0" fmla="*/ 26670 w 26670"/>
                <a:gd name="connsiteY0" fmla="*/ 13335 h 26669"/>
                <a:gd name="connsiteX1" fmla="*/ 13335 w 26670"/>
                <a:gd name="connsiteY1" fmla="*/ 26670 h 26669"/>
                <a:gd name="connsiteX2" fmla="*/ 0 w 26670"/>
                <a:gd name="connsiteY2" fmla="*/ 13335 h 26669"/>
                <a:gd name="connsiteX3" fmla="*/ 13335 w 26670"/>
                <a:gd name="connsiteY3" fmla="*/ 0 h 26669"/>
                <a:gd name="connsiteX4" fmla="*/ 26670 w 26670"/>
                <a:gd name="connsiteY4" fmla="*/ 13335 h 26669"/>
                <a:gd name="connsiteX5" fmla="*/ 26670 w 26670"/>
                <a:gd name="connsiteY5" fmla="*/ 13335 h 2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" h="26669">
                  <a:moveTo>
                    <a:pt x="26670" y="13335"/>
                  </a:moveTo>
                  <a:cubicBezTo>
                    <a:pt x="26670" y="20669"/>
                    <a:pt x="20669" y="26670"/>
                    <a:pt x="13335" y="26670"/>
                  </a:cubicBezTo>
                  <a:cubicBezTo>
                    <a:pt x="6001" y="26670"/>
                    <a:pt x="0" y="20669"/>
                    <a:pt x="0" y="13335"/>
                  </a:cubicBezTo>
                  <a:cubicBezTo>
                    <a:pt x="0" y="6001"/>
                    <a:pt x="6001" y="0"/>
                    <a:pt x="13335" y="0"/>
                  </a:cubicBezTo>
                  <a:cubicBezTo>
                    <a:pt x="20669" y="0"/>
                    <a:pt x="26670" y="6001"/>
                    <a:pt x="26670" y="13335"/>
                  </a:cubicBezTo>
                  <a:lnTo>
                    <a:pt x="26670" y="13335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C9EA5FDD-C690-C012-4587-283E09F16C8D}"/>
                </a:ext>
              </a:extLst>
            </p:cNvPr>
            <p:cNvSpPr/>
            <p:nvPr/>
          </p:nvSpPr>
          <p:spPr>
            <a:xfrm>
              <a:off x="5524168" y="3048557"/>
              <a:ext cx="14668" cy="14668"/>
            </a:xfrm>
            <a:custGeom>
              <a:avLst/>
              <a:gdLst>
                <a:gd name="connsiteX0" fmla="*/ 14669 w 14668"/>
                <a:gd name="connsiteY0" fmla="*/ 7334 h 14668"/>
                <a:gd name="connsiteX1" fmla="*/ 7334 w 14668"/>
                <a:gd name="connsiteY1" fmla="*/ 14669 h 14668"/>
                <a:gd name="connsiteX2" fmla="*/ 0 w 14668"/>
                <a:gd name="connsiteY2" fmla="*/ 7334 h 14668"/>
                <a:gd name="connsiteX3" fmla="*/ 7334 w 14668"/>
                <a:gd name="connsiteY3" fmla="*/ 0 h 14668"/>
                <a:gd name="connsiteX4" fmla="*/ 14669 w 14668"/>
                <a:gd name="connsiteY4" fmla="*/ 7334 h 14668"/>
                <a:gd name="connsiteX5" fmla="*/ 14669 w 14668"/>
                <a:gd name="connsiteY5" fmla="*/ 7334 h 14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68" h="14668">
                  <a:moveTo>
                    <a:pt x="14669" y="7334"/>
                  </a:moveTo>
                  <a:cubicBezTo>
                    <a:pt x="14669" y="11335"/>
                    <a:pt x="11335" y="14669"/>
                    <a:pt x="7334" y="14669"/>
                  </a:cubicBezTo>
                  <a:cubicBezTo>
                    <a:pt x="3238" y="14669"/>
                    <a:pt x="0" y="11335"/>
                    <a:pt x="0" y="7334"/>
                  </a:cubicBezTo>
                  <a:cubicBezTo>
                    <a:pt x="0" y="3334"/>
                    <a:pt x="3334" y="0"/>
                    <a:pt x="7334" y="0"/>
                  </a:cubicBezTo>
                  <a:cubicBezTo>
                    <a:pt x="11430" y="0"/>
                    <a:pt x="14669" y="3334"/>
                    <a:pt x="14669" y="7334"/>
                  </a:cubicBezTo>
                  <a:lnTo>
                    <a:pt x="14669" y="7334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B4A5A50B-4BBB-B4F8-D1A8-F6EB1E86D5BE}"/>
                </a:ext>
              </a:extLst>
            </p:cNvPr>
            <p:cNvSpPr/>
            <p:nvPr/>
          </p:nvSpPr>
          <p:spPr>
            <a:xfrm>
              <a:off x="5408246" y="2877774"/>
              <a:ext cx="138782" cy="240220"/>
            </a:xfrm>
            <a:custGeom>
              <a:avLst/>
              <a:gdLst>
                <a:gd name="connsiteX0" fmla="*/ 117637 w 138782"/>
                <a:gd name="connsiteY0" fmla="*/ 223457 h 240220"/>
                <a:gd name="connsiteX1" fmla="*/ 115541 w 138782"/>
                <a:gd name="connsiteY1" fmla="*/ 228410 h 240220"/>
                <a:gd name="connsiteX2" fmla="*/ 109731 w 138782"/>
                <a:gd name="connsiteY2" fmla="*/ 230029 h 240220"/>
                <a:gd name="connsiteX3" fmla="*/ 19053 w 138782"/>
                <a:gd name="connsiteY3" fmla="*/ 230791 h 240220"/>
                <a:gd name="connsiteX4" fmla="*/ 11719 w 138782"/>
                <a:gd name="connsiteY4" fmla="*/ 226028 h 240220"/>
                <a:gd name="connsiteX5" fmla="*/ 10290 w 138782"/>
                <a:gd name="connsiteY5" fmla="*/ 213741 h 240220"/>
                <a:gd name="connsiteX6" fmla="*/ 10861 w 138782"/>
                <a:gd name="connsiteY6" fmla="*/ 18860 h 240220"/>
                <a:gd name="connsiteX7" fmla="*/ 12957 w 138782"/>
                <a:gd name="connsiteY7" fmla="*/ 12859 h 240220"/>
                <a:gd name="connsiteX8" fmla="*/ 18862 w 138782"/>
                <a:gd name="connsiteY8" fmla="*/ 10382 h 240220"/>
                <a:gd name="connsiteX9" fmla="*/ 117160 w 138782"/>
                <a:gd name="connsiteY9" fmla="*/ 9811 h 240220"/>
                <a:gd name="connsiteX10" fmla="*/ 127162 w 138782"/>
                <a:gd name="connsiteY10" fmla="*/ 13716 h 240220"/>
                <a:gd name="connsiteX11" fmla="*/ 129352 w 138782"/>
                <a:gd name="connsiteY11" fmla="*/ 42577 h 240220"/>
                <a:gd name="connsiteX12" fmla="*/ 138782 w 138782"/>
                <a:gd name="connsiteY12" fmla="*/ 42577 h 240220"/>
                <a:gd name="connsiteX13" fmla="*/ 138497 w 138782"/>
                <a:gd name="connsiteY13" fmla="*/ 18193 h 240220"/>
                <a:gd name="connsiteX14" fmla="*/ 133258 w 138782"/>
                <a:gd name="connsiteY14" fmla="*/ 4953 h 240220"/>
                <a:gd name="connsiteX15" fmla="*/ 120399 w 138782"/>
                <a:gd name="connsiteY15" fmla="*/ 0 h 240220"/>
                <a:gd name="connsiteX16" fmla="*/ 18862 w 138782"/>
                <a:gd name="connsiteY16" fmla="*/ 857 h 240220"/>
                <a:gd name="connsiteX17" fmla="*/ 4765 w 138782"/>
                <a:gd name="connsiteY17" fmla="*/ 6572 h 240220"/>
                <a:gd name="connsiteX18" fmla="*/ 3 w 138782"/>
                <a:gd name="connsiteY18" fmla="*/ 19050 h 240220"/>
                <a:gd name="connsiteX19" fmla="*/ 670 w 138782"/>
                <a:gd name="connsiteY19" fmla="*/ 216027 h 240220"/>
                <a:gd name="connsiteX20" fmla="*/ 5337 w 138782"/>
                <a:gd name="connsiteY20" fmla="*/ 233934 h 240220"/>
                <a:gd name="connsiteX21" fmla="*/ 19148 w 138782"/>
                <a:gd name="connsiteY21" fmla="*/ 239935 h 240220"/>
                <a:gd name="connsiteX22" fmla="*/ 110112 w 138782"/>
                <a:gd name="connsiteY22" fmla="*/ 240221 h 240220"/>
                <a:gd name="connsiteX23" fmla="*/ 122971 w 138782"/>
                <a:gd name="connsiteY23" fmla="*/ 235077 h 240220"/>
                <a:gd name="connsiteX24" fmla="*/ 128210 w 138782"/>
                <a:gd name="connsiteY24" fmla="*/ 225362 h 240220"/>
                <a:gd name="connsiteX25" fmla="*/ 117637 w 138782"/>
                <a:gd name="connsiteY25" fmla="*/ 223457 h 240220"/>
                <a:gd name="connsiteX26" fmla="*/ 117637 w 138782"/>
                <a:gd name="connsiteY26" fmla="*/ 223457 h 240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8782" h="240220">
                  <a:moveTo>
                    <a:pt x="117637" y="223457"/>
                  </a:moveTo>
                  <a:cubicBezTo>
                    <a:pt x="117637" y="223457"/>
                    <a:pt x="117160" y="227171"/>
                    <a:pt x="115541" y="228410"/>
                  </a:cubicBezTo>
                  <a:cubicBezTo>
                    <a:pt x="113636" y="229838"/>
                    <a:pt x="109731" y="230029"/>
                    <a:pt x="109731" y="230029"/>
                  </a:cubicBezTo>
                  <a:lnTo>
                    <a:pt x="19053" y="230791"/>
                  </a:lnTo>
                  <a:cubicBezTo>
                    <a:pt x="19053" y="230791"/>
                    <a:pt x="13528" y="231267"/>
                    <a:pt x="11719" y="226028"/>
                  </a:cubicBezTo>
                  <a:cubicBezTo>
                    <a:pt x="10004" y="220790"/>
                    <a:pt x="10290" y="213741"/>
                    <a:pt x="10290" y="213741"/>
                  </a:cubicBezTo>
                  <a:lnTo>
                    <a:pt x="10861" y="18860"/>
                  </a:lnTo>
                  <a:cubicBezTo>
                    <a:pt x="10861" y="18860"/>
                    <a:pt x="10195" y="15621"/>
                    <a:pt x="12957" y="12859"/>
                  </a:cubicBezTo>
                  <a:cubicBezTo>
                    <a:pt x="15719" y="10097"/>
                    <a:pt x="18862" y="10382"/>
                    <a:pt x="18862" y="10382"/>
                  </a:cubicBezTo>
                  <a:lnTo>
                    <a:pt x="117160" y="9811"/>
                  </a:lnTo>
                  <a:cubicBezTo>
                    <a:pt x="117160" y="9811"/>
                    <a:pt x="123447" y="10001"/>
                    <a:pt x="127162" y="13716"/>
                  </a:cubicBezTo>
                  <a:cubicBezTo>
                    <a:pt x="130114" y="16669"/>
                    <a:pt x="129352" y="42577"/>
                    <a:pt x="129352" y="42577"/>
                  </a:cubicBezTo>
                  <a:lnTo>
                    <a:pt x="138782" y="42577"/>
                  </a:lnTo>
                  <a:lnTo>
                    <a:pt x="138497" y="18193"/>
                  </a:lnTo>
                  <a:cubicBezTo>
                    <a:pt x="138497" y="18193"/>
                    <a:pt x="138497" y="10001"/>
                    <a:pt x="133258" y="4953"/>
                  </a:cubicBezTo>
                  <a:cubicBezTo>
                    <a:pt x="128019" y="-95"/>
                    <a:pt x="120399" y="0"/>
                    <a:pt x="120399" y="0"/>
                  </a:cubicBezTo>
                  <a:lnTo>
                    <a:pt x="18862" y="857"/>
                  </a:lnTo>
                  <a:cubicBezTo>
                    <a:pt x="18862" y="857"/>
                    <a:pt x="9814" y="-857"/>
                    <a:pt x="4765" y="6572"/>
                  </a:cubicBezTo>
                  <a:cubicBezTo>
                    <a:pt x="-283" y="14002"/>
                    <a:pt x="3" y="19050"/>
                    <a:pt x="3" y="19050"/>
                  </a:cubicBezTo>
                  <a:lnTo>
                    <a:pt x="670" y="216027"/>
                  </a:lnTo>
                  <a:cubicBezTo>
                    <a:pt x="670" y="216027"/>
                    <a:pt x="-92" y="228124"/>
                    <a:pt x="5337" y="233934"/>
                  </a:cubicBezTo>
                  <a:cubicBezTo>
                    <a:pt x="11719" y="240792"/>
                    <a:pt x="19148" y="239935"/>
                    <a:pt x="19148" y="239935"/>
                  </a:cubicBezTo>
                  <a:lnTo>
                    <a:pt x="110112" y="240221"/>
                  </a:lnTo>
                  <a:cubicBezTo>
                    <a:pt x="110112" y="240221"/>
                    <a:pt x="118589" y="239744"/>
                    <a:pt x="122971" y="235077"/>
                  </a:cubicBezTo>
                  <a:cubicBezTo>
                    <a:pt x="127352" y="230410"/>
                    <a:pt x="128210" y="225362"/>
                    <a:pt x="128210" y="225362"/>
                  </a:cubicBezTo>
                  <a:lnTo>
                    <a:pt x="117637" y="223457"/>
                  </a:lnTo>
                  <a:lnTo>
                    <a:pt x="117637" y="223457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82D98B32-4353-7864-DC79-08DA182F8569}"/>
                </a:ext>
              </a:extLst>
            </p:cNvPr>
            <p:cNvSpPr/>
            <p:nvPr/>
          </p:nvSpPr>
          <p:spPr>
            <a:xfrm>
              <a:off x="5490164" y="2773291"/>
              <a:ext cx="439875" cy="288221"/>
            </a:xfrm>
            <a:custGeom>
              <a:avLst/>
              <a:gdLst>
                <a:gd name="connsiteX0" fmla="*/ 130683 w 439875"/>
                <a:gd name="connsiteY0" fmla="*/ 15043 h 288221"/>
                <a:gd name="connsiteX1" fmla="*/ 22955 w 439875"/>
                <a:gd name="connsiteY1" fmla="*/ 34284 h 288221"/>
                <a:gd name="connsiteX2" fmla="*/ 18193 w 439875"/>
                <a:gd name="connsiteY2" fmla="*/ 37237 h 288221"/>
                <a:gd name="connsiteX3" fmla="*/ 15621 w 439875"/>
                <a:gd name="connsiteY3" fmla="*/ 43237 h 288221"/>
                <a:gd name="connsiteX4" fmla="*/ 15050 w 439875"/>
                <a:gd name="connsiteY4" fmla="*/ 192684 h 288221"/>
                <a:gd name="connsiteX5" fmla="*/ 19907 w 439875"/>
                <a:gd name="connsiteY5" fmla="*/ 201447 h 288221"/>
                <a:gd name="connsiteX6" fmla="*/ 28670 w 439875"/>
                <a:gd name="connsiteY6" fmla="*/ 205543 h 288221"/>
                <a:gd name="connsiteX7" fmla="*/ 421291 w 439875"/>
                <a:gd name="connsiteY7" fmla="*/ 207543 h 288221"/>
                <a:gd name="connsiteX8" fmla="*/ 435007 w 439875"/>
                <a:gd name="connsiteY8" fmla="*/ 212592 h 288221"/>
                <a:gd name="connsiteX9" fmla="*/ 439864 w 439875"/>
                <a:gd name="connsiteY9" fmla="*/ 226498 h 288221"/>
                <a:gd name="connsiteX10" fmla="*/ 439769 w 439875"/>
                <a:gd name="connsiteY10" fmla="*/ 283743 h 288221"/>
                <a:gd name="connsiteX11" fmla="*/ 434530 w 439875"/>
                <a:gd name="connsiteY11" fmla="*/ 288220 h 288221"/>
                <a:gd name="connsiteX12" fmla="*/ 429863 w 439875"/>
                <a:gd name="connsiteY12" fmla="*/ 283743 h 288221"/>
                <a:gd name="connsiteX13" fmla="*/ 429577 w 439875"/>
                <a:gd name="connsiteY13" fmla="*/ 226403 h 288221"/>
                <a:gd name="connsiteX14" fmla="*/ 427292 w 439875"/>
                <a:gd name="connsiteY14" fmla="*/ 220021 h 288221"/>
                <a:gd name="connsiteX15" fmla="*/ 421100 w 439875"/>
                <a:gd name="connsiteY15" fmla="*/ 217735 h 288221"/>
                <a:gd name="connsiteX16" fmla="*/ 28289 w 439875"/>
                <a:gd name="connsiteY16" fmla="*/ 219831 h 288221"/>
                <a:gd name="connsiteX17" fmla="*/ 9525 w 439875"/>
                <a:gd name="connsiteY17" fmla="*/ 211830 h 288221"/>
                <a:gd name="connsiteX18" fmla="*/ 0 w 439875"/>
                <a:gd name="connsiteY18" fmla="*/ 194875 h 288221"/>
                <a:gd name="connsiteX19" fmla="*/ 1429 w 439875"/>
                <a:gd name="connsiteY19" fmla="*/ 42094 h 288221"/>
                <a:gd name="connsiteX20" fmla="*/ 7715 w 439875"/>
                <a:gd name="connsiteY20" fmla="*/ 25330 h 288221"/>
                <a:gd name="connsiteX21" fmla="*/ 19907 w 439875"/>
                <a:gd name="connsiteY21" fmla="*/ 19139 h 288221"/>
                <a:gd name="connsiteX22" fmla="*/ 127825 w 439875"/>
                <a:gd name="connsiteY22" fmla="*/ 89 h 288221"/>
                <a:gd name="connsiteX23" fmla="*/ 135731 w 439875"/>
                <a:gd name="connsiteY23" fmla="*/ 5613 h 288221"/>
                <a:gd name="connsiteX24" fmla="*/ 130683 w 439875"/>
                <a:gd name="connsiteY24" fmla="*/ 15043 h 288221"/>
                <a:gd name="connsiteX25" fmla="*/ 130683 w 439875"/>
                <a:gd name="connsiteY25" fmla="*/ 15043 h 288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9875" h="288221">
                  <a:moveTo>
                    <a:pt x="130683" y="15043"/>
                  </a:moveTo>
                  <a:lnTo>
                    <a:pt x="22955" y="34284"/>
                  </a:lnTo>
                  <a:cubicBezTo>
                    <a:pt x="22955" y="34284"/>
                    <a:pt x="19526" y="35141"/>
                    <a:pt x="18193" y="37237"/>
                  </a:cubicBezTo>
                  <a:cubicBezTo>
                    <a:pt x="16192" y="40380"/>
                    <a:pt x="15621" y="43237"/>
                    <a:pt x="15621" y="43237"/>
                  </a:cubicBezTo>
                  <a:lnTo>
                    <a:pt x="15050" y="192684"/>
                  </a:lnTo>
                  <a:cubicBezTo>
                    <a:pt x="15050" y="192684"/>
                    <a:pt x="16954" y="198876"/>
                    <a:pt x="19907" y="201447"/>
                  </a:cubicBezTo>
                  <a:cubicBezTo>
                    <a:pt x="22765" y="203829"/>
                    <a:pt x="28670" y="205543"/>
                    <a:pt x="28670" y="205543"/>
                  </a:cubicBezTo>
                  <a:lnTo>
                    <a:pt x="421291" y="207543"/>
                  </a:lnTo>
                  <a:cubicBezTo>
                    <a:pt x="421291" y="207543"/>
                    <a:pt x="428054" y="205829"/>
                    <a:pt x="435007" y="212592"/>
                  </a:cubicBezTo>
                  <a:cubicBezTo>
                    <a:pt x="440341" y="217830"/>
                    <a:pt x="439864" y="226498"/>
                    <a:pt x="439864" y="226498"/>
                  </a:cubicBezTo>
                  <a:lnTo>
                    <a:pt x="439769" y="283743"/>
                  </a:lnTo>
                  <a:cubicBezTo>
                    <a:pt x="439769" y="283743"/>
                    <a:pt x="438817" y="288220"/>
                    <a:pt x="434530" y="288220"/>
                  </a:cubicBezTo>
                  <a:cubicBezTo>
                    <a:pt x="430244" y="288315"/>
                    <a:pt x="429863" y="283743"/>
                    <a:pt x="429863" y="283743"/>
                  </a:cubicBezTo>
                  <a:lnTo>
                    <a:pt x="429577" y="226403"/>
                  </a:lnTo>
                  <a:cubicBezTo>
                    <a:pt x="429577" y="226403"/>
                    <a:pt x="430149" y="222402"/>
                    <a:pt x="427292" y="220021"/>
                  </a:cubicBezTo>
                  <a:cubicBezTo>
                    <a:pt x="423767" y="217164"/>
                    <a:pt x="421100" y="217735"/>
                    <a:pt x="421100" y="217735"/>
                  </a:cubicBezTo>
                  <a:lnTo>
                    <a:pt x="28289" y="219831"/>
                  </a:lnTo>
                  <a:cubicBezTo>
                    <a:pt x="28289" y="219831"/>
                    <a:pt x="16859" y="219259"/>
                    <a:pt x="9525" y="211830"/>
                  </a:cubicBezTo>
                  <a:cubicBezTo>
                    <a:pt x="667" y="202971"/>
                    <a:pt x="0" y="194875"/>
                    <a:pt x="0" y="194875"/>
                  </a:cubicBezTo>
                  <a:lnTo>
                    <a:pt x="1429" y="42094"/>
                  </a:lnTo>
                  <a:cubicBezTo>
                    <a:pt x="1429" y="42094"/>
                    <a:pt x="1714" y="31140"/>
                    <a:pt x="7715" y="25330"/>
                  </a:cubicBezTo>
                  <a:cubicBezTo>
                    <a:pt x="14097" y="19234"/>
                    <a:pt x="19907" y="19139"/>
                    <a:pt x="19907" y="19139"/>
                  </a:cubicBezTo>
                  <a:lnTo>
                    <a:pt x="127825" y="89"/>
                  </a:lnTo>
                  <a:cubicBezTo>
                    <a:pt x="127825" y="89"/>
                    <a:pt x="134207" y="-1149"/>
                    <a:pt x="135731" y="5613"/>
                  </a:cubicBezTo>
                  <a:cubicBezTo>
                    <a:pt x="137446" y="12567"/>
                    <a:pt x="130683" y="15043"/>
                    <a:pt x="130683" y="15043"/>
                  </a:cubicBezTo>
                  <a:lnTo>
                    <a:pt x="130683" y="15043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BAD435DD-843D-2FDC-AC05-E3C9500A6EB7}"/>
                </a:ext>
              </a:extLst>
            </p:cNvPr>
            <p:cNvSpPr/>
            <p:nvPr/>
          </p:nvSpPr>
          <p:spPr>
            <a:xfrm>
              <a:off x="5376912" y="2739566"/>
              <a:ext cx="384333" cy="232056"/>
            </a:xfrm>
            <a:custGeom>
              <a:avLst/>
              <a:gdLst>
                <a:gd name="connsiteX0" fmla="*/ 77914 w 384333"/>
                <a:gd name="connsiteY0" fmla="*/ 192405 h 232056"/>
                <a:gd name="connsiteX1" fmla="*/ 363474 w 384333"/>
                <a:gd name="connsiteY1" fmla="*/ 192405 h 232056"/>
                <a:gd name="connsiteX2" fmla="*/ 363474 w 384333"/>
                <a:gd name="connsiteY2" fmla="*/ 192500 h 232056"/>
                <a:gd name="connsiteX3" fmla="*/ 364712 w 384333"/>
                <a:gd name="connsiteY3" fmla="*/ 192500 h 232056"/>
                <a:gd name="connsiteX4" fmla="*/ 384334 w 384333"/>
                <a:gd name="connsiteY4" fmla="*/ 212122 h 232056"/>
                <a:gd name="connsiteX5" fmla="*/ 364712 w 384333"/>
                <a:gd name="connsiteY5" fmla="*/ 231743 h 232056"/>
                <a:gd name="connsiteX6" fmla="*/ 363474 w 384333"/>
                <a:gd name="connsiteY6" fmla="*/ 231743 h 232056"/>
                <a:gd name="connsiteX7" fmla="*/ 363474 w 384333"/>
                <a:gd name="connsiteY7" fmla="*/ 231839 h 232056"/>
                <a:gd name="connsiteX8" fmla="*/ 76486 w 384333"/>
                <a:gd name="connsiteY8" fmla="*/ 231839 h 232056"/>
                <a:gd name="connsiteX9" fmla="*/ 76486 w 384333"/>
                <a:gd name="connsiteY9" fmla="*/ 231934 h 232056"/>
                <a:gd name="connsiteX10" fmla="*/ 24003 w 384333"/>
                <a:gd name="connsiteY10" fmla="*/ 212884 h 232056"/>
                <a:gd name="connsiteX11" fmla="*/ 95 w 384333"/>
                <a:gd name="connsiteY11" fmla="*/ 159068 h 232056"/>
                <a:gd name="connsiteX12" fmla="*/ 95 w 384333"/>
                <a:gd name="connsiteY12" fmla="*/ 159068 h 232056"/>
                <a:gd name="connsiteX13" fmla="*/ 95 w 384333"/>
                <a:gd name="connsiteY13" fmla="*/ 74771 h 232056"/>
                <a:gd name="connsiteX14" fmla="*/ 0 w 384333"/>
                <a:gd name="connsiteY14" fmla="*/ 74771 h 232056"/>
                <a:gd name="connsiteX15" fmla="*/ 21431 w 384333"/>
                <a:gd name="connsiteY15" fmla="*/ 20860 h 232056"/>
                <a:gd name="connsiteX16" fmla="*/ 72390 w 384333"/>
                <a:gd name="connsiteY16" fmla="*/ 286 h 232056"/>
                <a:gd name="connsiteX17" fmla="*/ 72390 w 384333"/>
                <a:gd name="connsiteY17" fmla="*/ 0 h 232056"/>
                <a:gd name="connsiteX18" fmla="*/ 300704 w 384333"/>
                <a:gd name="connsiteY18" fmla="*/ 0 h 232056"/>
                <a:gd name="connsiteX19" fmla="*/ 300704 w 384333"/>
                <a:gd name="connsiteY19" fmla="*/ 286 h 232056"/>
                <a:gd name="connsiteX20" fmla="*/ 303562 w 384333"/>
                <a:gd name="connsiteY20" fmla="*/ 95 h 232056"/>
                <a:gd name="connsiteX21" fmla="*/ 323183 w 384333"/>
                <a:gd name="connsiteY21" fmla="*/ 19717 h 232056"/>
                <a:gd name="connsiteX22" fmla="*/ 303562 w 384333"/>
                <a:gd name="connsiteY22" fmla="*/ 39338 h 232056"/>
                <a:gd name="connsiteX23" fmla="*/ 300704 w 384333"/>
                <a:gd name="connsiteY23" fmla="*/ 39148 h 232056"/>
                <a:gd name="connsiteX24" fmla="*/ 300704 w 384333"/>
                <a:gd name="connsiteY24" fmla="*/ 39433 h 232056"/>
                <a:gd name="connsiteX25" fmla="*/ 72390 w 384333"/>
                <a:gd name="connsiteY25" fmla="*/ 39433 h 232056"/>
                <a:gd name="connsiteX26" fmla="*/ 72390 w 384333"/>
                <a:gd name="connsiteY26" fmla="*/ 39433 h 232056"/>
                <a:gd name="connsiteX27" fmla="*/ 50006 w 384333"/>
                <a:gd name="connsiteY27" fmla="*/ 49149 h 232056"/>
                <a:gd name="connsiteX28" fmla="*/ 39719 w 384333"/>
                <a:gd name="connsiteY28" fmla="*/ 75343 h 232056"/>
                <a:gd name="connsiteX29" fmla="*/ 39434 w 384333"/>
                <a:gd name="connsiteY29" fmla="*/ 75343 h 232056"/>
                <a:gd name="connsiteX30" fmla="*/ 39434 w 384333"/>
                <a:gd name="connsiteY30" fmla="*/ 155067 h 232056"/>
                <a:gd name="connsiteX31" fmla="*/ 39719 w 384333"/>
                <a:gd name="connsiteY31" fmla="*/ 155067 h 232056"/>
                <a:gd name="connsiteX32" fmla="*/ 48006 w 384333"/>
                <a:gd name="connsiteY32" fmla="*/ 181546 h 232056"/>
                <a:gd name="connsiteX33" fmla="*/ 73914 w 384333"/>
                <a:gd name="connsiteY33" fmla="*/ 192691 h 232056"/>
                <a:gd name="connsiteX34" fmla="*/ 73914 w 384333"/>
                <a:gd name="connsiteY34" fmla="*/ 192691 h 232056"/>
                <a:gd name="connsiteX35" fmla="*/ 77343 w 384333"/>
                <a:gd name="connsiteY35" fmla="*/ 192691 h 232056"/>
                <a:gd name="connsiteX36" fmla="*/ 77914 w 384333"/>
                <a:gd name="connsiteY36" fmla="*/ 192405 h 232056"/>
                <a:gd name="connsiteX37" fmla="*/ 77914 w 384333"/>
                <a:gd name="connsiteY37" fmla="*/ 192405 h 232056"/>
                <a:gd name="connsiteX38" fmla="*/ 77914 w 384333"/>
                <a:gd name="connsiteY38" fmla="*/ 192405 h 23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84333" h="232056">
                  <a:moveTo>
                    <a:pt x="77914" y="192405"/>
                  </a:moveTo>
                  <a:lnTo>
                    <a:pt x="363474" y="192405"/>
                  </a:lnTo>
                  <a:lnTo>
                    <a:pt x="363474" y="192500"/>
                  </a:lnTo>
                  <a:cubicBezTo>
                    <a:pt x="363855" y="192500"/>
                    <a:pt x="364331" y="192500"/>
                    <a:pt x="364712" y="192500"/>
                  </a:cubicBezTo>
                  <a:cubicBezTo>
                    <a:pt x="375571" y="192500"/>
                    <a:pt x="384334" y="201263"/>
                    <a:pt x="384334" y="212122"/>
                  </a:cubicBezTo>
                  <a:cubicBezTo>
                    <a:pt x="384334" y="222980"/>
                    <a:pt x="375571" y="231743"/>
                    <a:pt x="364712" y="231743"/>
                  </a:cubicBezTo>
                  <a:cubicBezTo>
                    <a:pt x="364331" y="231743"/>
                    <a:pt x="363855" y="231743"/>
                    <a:pt x="363474" y="231743"/>
                  </a:cubicBezTo>
                  <a:lnTo>
                    <a:pt x="363474" y="231839"/>
                  </a:lnTo>
                  <a:lnTo>
                    <a:pt x="76486" y="231839"/>
                  </a:lnTo>
                  <a:lnTo>
                    <a:pt x="76486" y="231934"/>
                  </a:lnTo>
                  <a:cubicBezTo>
                    <a:pt x="76486" y="231934"/>
                    <a:pt x="46577" y="234791"/>
                    <a:pt x="24003" y="212884"/>
                  </a:cubicBezTo>
                  <a:cubicBezTo>
                    <a:pt x="2286" y="191833"/>
                    <a:pt x="190" y="167164"/>
                    <a:pt x="95" y="159068"/>
                  </a:cubicBezTo>
                  <a:lnTo>
                    <a:pt x="95" y="159068"/>
                  </a:lnTo>
                  <a:lnTo>
                    <a:pt x="95" y="74771"/>
                  </a:lnTo>
                  <a:lnTo>
                    <a:pt x="0" y="74771"/>
                  </a:lnTo>
                  <a:cubicBezTo>
                    <a:pt x="0" y="74771"/>
                    <a:pt x="-95" y="42767"/>
                    <a:pt x="21431" y="20860"/>
                  </a:cubicBezTo>
                  <a:cubicBezTo>
                    <a:pt x="40957" y="952"/>
                    <a:pt x="67723" y="286"/>
                    <a:pt x="72390" y="286"/>
                  </a:cubicBezTo>
                  <a:lnTo>
                    <a:pt x="72390" y="0"/>
                  </a:lnTo>
                  <a:lnTo>
                    <a:pt x="300704" y="0"/>
                  </a:lnTo>
                  <a:lnTo>
                    <a:pt x="300704" y="286"/>
                  </a:lnTo>
                  <a:cubicBezTo>
                    <a:pt x="301657" y="190"/>
                    <a:pt x="302609" y="95"/>
                    <a:pt x="303562" y="95"/>
                  </a:cubicBezTo>
                  <a:cubicBezTo>
                    <a:pt x="314420" y="95"/>
                    <a:pt x="323183" y="8858"/>
                    <a:pt x="323183" y="19717"/>
                  </a:cubicBezTo>
                  <a:cubicBezTo>
                    <a:pt x="323183" y="30575"/>
                    <a:pt x="314420" y="39338"/>
                    <a:pt x="303562" y="39338"/>
                  </a:cubicBezTo>
                  <a:cubicBezTo>
                    <a:pt x="302609" y="39338"/>
                    <a:pt x="301657" y="39243"/>
                    <a:pt x="300704" y="39148"/>
                  </a:cubicBezTo>
                  <a:lnTo>
                    <a:pt x="300704" y="39433"/>
                  </a:lnTo>
                  <a:lnTo>
                    <a:pt x="72390" y="39433"/>
                  </a:lnTo>
                  <a:lnTo>
                    <a:pt x="72390" y="39433"/>
                  </a:lnTo>
                  <a:cubicBezTo>
                    <a:pt x="69628" y="39624"/>
                    <a:pt x="58484" y="40767"/>
                    <a:pt x="50006" y="49149"/>
                  </a:cubicBezTo>
                  <a:cubicBezTo>
                    <a:pt x="39814" y="59245"/>
                    <a:pt x="39719" y="75343"/>
                    <a:pt x="39719" y="75343"/>
                  </a:cubicBezTo>
                  <a:lnTo>
                    <a:pt x="39434" y="75343"/>
                  </a:lnTo>
                  <a:lnTo>
                    <a:pt x="39434" y="155067"/>
                  </a:lnTo>
                  <a:lnTo>
                    <a:pt x="39719" y="155067"/>
                  </a:lnTo>
                  <a:cubicBezTo>
                    <a:pt x="39719" y="155067"/>
                    <a:pt x="38671" y="170021"/>
                    <a:pt x="48006" y="181546"/>
                  </a:cubicBezTo>
                  <a:cubicBezTo>
                    <a:pt x="55531" y="190881"/>
                    <a:pt x="67627" y="192500"/>
                    <a:pt x="73914" y="192691"/>
                  </a:cubicBezTo>
                  <a:lnTo>
                    <a:pt x="73914" y="192691"/>
                  </a:lnTo>
                  <a:lnTo>
                    <a:pt x="77343" y="192691"/>
                  </a:lnTo>
                  <a:cubicBezTo>
                    <a:pt x="77724" y="192405"/>
                    <a:pt x="77914" y="192405"/>
                    <a:pt x="77914" y="192405"/>
                  </a:cubicBezTo>
                  <a:lnTo>
                    <a:pt x="77914" y="192405"/>
                  </a:lnTo>
                  <a:lnTo>
                    <a:pt x="77914" y="19240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6BF08A4C-9F6D-3E42-A71C-4DE9C0248750}"/>
                </a:ext>
              </a:extLst>
            </p:cNvPr>
            <p:cNvSpPr/>
            <p:nvPr/>
          </p:nvSpPr>
          <p:spPr>
            <a:xfrm>
              <a:off x="5542075" y="2905396"/>
              <a:ext cx="283535" cy="56793"/>
            </a:xfrm>
            <a:custGeom>
              <a:avLst/>
              <a:gdLst>
                <a:gd name="connsiteX0" fmla="*/ 281559 w 283535"/>
                <a:gd name="connsiteY0" fmla="*/ 40196 h 56793"/>
                <a:gd name="connsiteX1" fmla="*/ 249079 w 283535"/>
                <a:gd name="connsiteY1" fmla="*/ 10001 h 56793"/>
                <a:gd name="connsiteX2" fmla="*/ 239173 w 283535"/>
                <a:gd name="connsiteY2" fmla="*/ 3048 h 56793"/>
                <a:gd name="connsiteX3" fmla="*/ 224790 w 283535"/>
                <a:gd name="connsiteY3" fmla="*/ 0 h 56793"/>
                <a:gd name="connsiteX4" fmla="*/ 0 w 283535"/>
                <a:gd name="connsiteY4" fmla="*/ 286 h 56793"/>
                <a:gd name="connsiteX5" fmla="*/ 95 w 283535"/>
                <a:gd name="connsiteY5" fmla="*/ 17145 h 56793"/>
                <a:gd name="connsiteX6" fmla="*/ 224409 w 283535"/>
                <a:gd name="connsiteY6" fmla="*/ 17717 h 56793"/>
                <a:gd name="connsiteX7" fmla="*/ 230886 w 283535"/>
                <a:gd name="connsiteY7" fmla="*/ 18955 h 56793"/>
                <a:gd name="connsiteX8" fmla="*/ 237172 w 283535"/>
                <a:gd name="connsiteY8" fmla="*/ 23050 h 56793"/>
                <a:gd name="connsiteX9" fmla="*/ 266700 w 283535"/>
                <a:gd name="connsiteY9" fmla="*/ 53816 h 56793"/>
                <a:gd name="connsiteX10" fmla="*/ 280035 w 283535"/>
                <a:gd name="connsiteY10" fmla="*/ 53721 h 56793"/>
                <a:gd name="connsiteX11" fmla="*/ 281559 w 283535"/>
                <a:gd name="connsiteY11" fmla="*/ 40196 h 56793"/>
                <a:gd name="connsiteX12" fmla="*/ 281559 w 283535"/>
                <a:gd name="connsiteY12" fmla="*/ 40196 h 56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535" h="56793">
                  <a:moveTo>
                    <a:pt x="281559" y="40196"/>
                  </a:moveTo>
                  <a:lnTo>
                    <a:pt x="249079" y="10001"/>
                  </a:lnTo>
                  <a:cubicBezTo>
                    <a:pt x="249079" y="10001"/>
                    <a:pt x="245174" y="5144"/>
                    <a:pt x="239173" y="3048"/>
                  </a:cubicBezTo>
                  <a:cubicBezTo>
                    <a:pt x="233172" y="953"/>
                    <a:pt x="224790" y="0"/>
                    <a:pt x="224790" y="0"/>
                  </a:cubicBezTo>
                  <a:lnTo>
                    <a:pt x="0" y="286"/>
                  </a:lnTo>
                  <a:lnTo>
                    <a:pt x="95" y="17145"/>
                  </a:lnTo>
                  <a:lnTo>
                    <a:pt x="224409" y="17717"/>
                  </a:lnTo>
                  <a:cubicBezTo>
                    <a:pt x="224409" y="17717"/>
                    <a:pt x="226981" y="17050"/>
                    <a:pt x="230886" y="18955"/>
                  </a:cubicBezTo>
                  <a:cubicBezTo>
                    <a:pt x="234791" y="20955"/>
                    <a:pt x="237172" y="23050"/>
                    <a:pt x="237172" y="23050"/>
                  </a:cubicBezTo>
                  <a:lnTo>
                    <a:pt x="266700" y="53816"/>
                  </a:lnTo>
                  <a:cubicBezTo>
                    <a:pt x="266700" y="53816"/>
                    <a:pt x="272891" y="60579"/>
                    <a:pt x="280035" y="53721"/>
                  </a:cubicBezTo>
                  <a:cubicBezTo>
                    <a:pt x="286893" y="47149"/>
                    <a:pt x="281559" y="40196"/>
                    <a:pt x="281559" y="40196"/>
                  </a:cubicBezTo>
                  <a:lnTo>
                    <a:pt x="281559" y="4019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37A43E57-D1A7-97A9-CC80-E84647A3D095}"/>
                </a:ext>
              </a:extLst>
            </p:cNvPr>
            <p:cNvSpPr/>
            <p:nvPr/>
          </p:nvSpPr>
          <p:spPr>
            <a:xfrm>
              <a:off x="5786487" y="2922253"/>
              <a:ext cx="9143" cy="9337"/>
            </a:xfrm>
            <a:custGeom>
              <a:avLst/>
              <a:gdLst>
                <a:gd name="connsiteX0" fmla="*/ 9144 w 9143"/>
                <a:gd name="connsiteY0" fmla="*/ 4670 h 9337"/>
                <a:gd name="connsiteX1" fmla="*/ 4572 w 9143"/>
                <a:gd name="connsiteY1" fmla="*/ 9338 h 9337"/>
                <a:gd name="connsiteX2" fmla="*/ 0 w 9143"/>
                <a:gd name="connsiteY2" fmla="*/ 4670 h 9337"/>
                <a:gd name="connsiteX3" fmla="*/ 4572 w 9143"/>
                <a:gd name="connsiteY3" fmla="*/ 3 h 9337"/>
                <a:gd name="connsiteX4" fmla="*/ 9144 w 9143"/>
                <a:gd name="connsiteY4" fmla="*/ 4670 h 9337"/>
                <a:gd name="connsiteX5" fmla="*/ 9144 w 9143"/>
                <a:gd name="connsiteY5" fmla="*/ 4670 h 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" h="9337">
                  <a:moveTo>
                    <a:pt x="9144" y="4670"/>
                  </a:moveTo>
                  <a:cubicBezTo>
                    <a:pt x="9144" y="7242"/>
                    <a:pt x="7048" y="9338"/>
                    <a:pt x="4572" y="9338"/>
                  </a:cubicBezTo>
                  <a:cubicBezTo>
                    <a:pt x="2000" y="9338"/>
                    <a:pt x="0" y="7242"/>
                    <a:pt x="0" y="4670"/>
                  </a:cubicBezTo>
                  <a:cubicBezTo>
                    <a:pt x="0" y="2099"/>
                    <a:pt x="2096" y="3"/>
                    <a:pt x="4572" y="3"/>
                  </a:cubicBezTo>
                  <a:cubicBezTo>
                    <a:pt x="7144" y="-92"/>
                    <a:pt x="9144" y="2003"/>
                    <a:pt x="9144" y="4670"/>
                  </a:cubicBezTo>
                  <a:lnTo>
                    <a:pt x="9144" y="467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0E5481D-9531-BD60-0F0D-0D1068C5A2D8}"/>
                </a:ext>
              </a:extLst>
            </p:cNvPr>
            <p:cNvSpPr/>
            <p:nvPr/>
          </p:nvSpPr>
          <p:spPr>
            <a:xfrm>
              <a:off x="5787344" y="2923111"/>
              <a:ext cx="7620" cy="73535"/>
            </a:xfrm>
            <a:custGeom>
              <a:avLst/>
              <a:gdLst>
                <a:gd name="connsiteX0" fmla="*/ 7429 w 7620"/>
                <a:gd name="connsiteY0" fmla="*/ 2574 h 73535"/>
                <a:gd name="connsiteX1" fmla="*/ 3524 w 7620"/>
                <a:gd name="connsiteY1" fmla="*/ 2 h 73535"/>
                <a:gd name="connsiteX2" fmla="*/ 0 w 7620"/>
                <a:gd name="connsiteY2" fmla="*/ 2669 h 73535"/>
                <a:gd name="connsiteX3" fmla="*/ 0 w 7620"/>
                <a:gd name="connsiteY3" fmla="*/ 72964 h 73535"/>
                <a:gd name="connsiteX4" fmla="*/ 7620 w 7620"/>
                <a:gd name="connsiteY4" fmla="*/ 73536 h 73535"/>
                <a:gd name="connsiteX5" fmla="*/ 7429 w 7620"/>
                <a:gd name="connsiteY5" fmla="*/ 2574 h 73535"/>
                <a:gd name="connsiteX6" fmla="*/ 7429 w 7620"/>
                <a:gd name="connsiteY6" fmla="*/ 2574 h 7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" h="73535">
                  <a:moveTo>
                    <a:pt x="7429" y="2574"/>
                  </a:moveTo>
                  <a:cubicBezTo>
                    <a:pt x="7429" y="2574"/>
                    <a:pt x="6096" y="-93"/>
                    <a:pt x="3524" y="2"/>
                  </a:cubicBezTo>
                  <a:cubicBezTo>
                    <a:pt x="857" y="98"/>
                    <a:pt x="0" y="2669"/>
                    <a:pt x="0" y="2669"/>
                  </a:cubicBezTo>
                  <a:lnTo>
                    <a:pt x="0" y="72964"/>
                  </a:lnTo>
                  <a:lnTo>
                    <a:pt x="7620" y="73536"/>
                  </a:lnTo>
                  <a:lnTo>
                    <a:pt x="7429" y="2574"/>
                  </a:lnTo>
                  <a:lnTo>
                    <a:pt x="7429" y="257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0C22A51C-1A2E-B38F-DA38-39B80E2BC405}"/>
                </a:ext>
              </a:extLst>
            </p:cNvPr>
            <p:cNvSpPr/>
            <p:nvPr/>
          </p:nvSpPr>
          <p:spPr>
            <a:xfrm>
              <a:off x="5411487" y="2969119"/>
              <a:ext cx="70675" cy="124396"/>
            </a:xfrm>
            <a:custGeom>
              <a:avLst/>
              <a:gdLst>
                <a:gd name="connsiteX0" fmla="*/ 53245 w 70675"/>
                <a:gd name="connsiteY0" fmla="*/ 27432 h 124396"/>
                <a:gd name="connsiteX1" fmla="*/ 53245 w 70675"/>
                <a:gd name="connsiteY1" fmla="*/ 0 h 124396"/>
                <a:gd name="connsiteX2" fmla="*/ 70675 w 70675"/>
                <a:gd name="connsiteY2" fmla="*/ 0 h 124396"/>
                <a:gd name="connsiteX3" fmla="*/ 70675 w 70675"/>
                <a:gd name="connsiteY3" fmla="*/ 124396 h 124396"/>
                <a:gd name="connsiteX4" fmla="*/ 53245 w 70675"/>
                <a:gd name="connsiteY4" fmla="*/ 124396 h 124396"/>
                <a:gd name="connsiteX5" fmla="*/ 53245 w 70675"/>
                <a:gd name="connsiteY5" fmla="*/ 45053 h 124396"/>
                <a:gd name="connsiteX6" fmla="*/ 35814 w 70675"/>
                <a:gd name="connsiteY6" fmla="*/ 44958 h 124396"/>
                <a:gd name="connsiteX7" fmla="*/ 23527 w 70675"/>
                <a:gd name="connsiteY7" fmla="*/ 49911 h 124396"/>
                <a:gd name="connsiteX8" fmla="*/ 17717 w 70675"/>
                <a:gd name="connsiteY8" fmla="*/ 62103 h 124396"/>
                <a:gd name="connsiteX9" fmla="*/ 17907 w 70675"/>
                <a:gd name="connsiteY9" fmla="*/ 120205 h 124396"/>
                <a:gd name="connsiteX10" fmla="*/ 381 w 70675"/>
                <a:gd name="connsiteY10" fmla="*/ 123254 h 124396"/>
                <a:gd name="connsiteX11" fmla="*/ 0 w 70675"/>
                <a:gd name="connsiteY11" fmla="*/ 62484 h 124396"/>
                <a:gd name="connsiteX12" fmla="*/ 11716 w 70675"/>
                <a:gd name="connsiteY12" fmla="*/ 35528 h 124396"/>
                <a:gd name="connsiteX13" fmla="*/ 35528 w 70675"/>
                <a:gd name="connsiteY13" fmla="*/ 27051 h 124396"/>
                <a:gd name="connsiteX14" fmla="*/ 53245 w 70675"/>
                <a:gd name="connsiteY14" fmla="*/ 27432 h 124396"/>
                <a:gd name="connsiteX15" fmla="*/ 53245 w 70675"/>
                <a:gd name="connsiteY15" fmla="*/ 27432 h 12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75" h="124396">
                  <a:moveTo>
                    <a:pt x="53245" y="27432"/>
                  </a:moveTo>
                  <a:lnTo>
                    <a:pt x="53245" y="0"/>
                  </a:lnTo>
                  <a:lnTo>
                    <a:pt x="70675" y="0"/>
                  </a:lnTo>
                  <a:lnTo>
                    <a:pt x="70675" y="124396"/>
                  </a:lnTo>
                  <a:lnTo>
                    <a:pt x="53245" y="124396"/>
                  </a:lnTo>
                  <a:lnTo>
                    <a:pt x="53245" y="45053"/>
                  </a:lnTo>
                  <a:lnTo>
                    <a:pt x="35814" y="44958"/>
                  </a:lnTo>
                  <a:cubicBezTo>
                    <a:pt x="35814" y="44958"/>
                    <a:pt x="28575" y="44482"/>
                    <a:pt x="23527" y="49911"/>
                  </a:cubicBezTo>
                  <a:cubicBezTo>
                    <a:pt x="18288" y="55531"/>
                    <a:pt x="17717" y="62103"/>
                    <a:pt x="17717" y="62103"/>
                  </a:cubicBezTo>
                  <a:lnTo>
                    <a:pt x="17907" y="120205"/>
                  </a:lnTo>
                  <a:lnTo>
                    <a:pt x="381" y="123254"/>
                  </a:lnTo>
                  <a:lnTo>
                    <a:pt x="0" y="62484"/>
                  </a:lnTo>
                  <a:cubicBezTo>
                    <a:pt x="0" y="62484"/>
                    <a:pt x="476" y="45529"/>
                    <a:pt x="11716" y="35528"/>
                  </a:cubicBezTo>
                  <a:cubicBezTo>
                    <a:pt x="22574" y="25813"/>
                    <a:pt x="35528" y="27051"/>
                    <a:pt x="35528" y="27051"/>
                  </a:cubicBezTo>
                  <a:lnTo>
                    <a:pt x="53245" y="27432"/>
                  </a:lnTo>
                  <a:lnTo>
                    <a:pt x="53245" y="27432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54A6731-F575-D085-4464-67321EDDBC98}"/>
                </a:ext>
              </a:extLst>
            </p:cNvPr>
            <p:cNvSpPr/>
            <p:nvPr/>
          </p:nvSpPr>
          <p:spPr>
            <a:xfrm>
              <a:off x="5503118" y="3003695"/>
              <a:ext cx="16478" cy="53911"/>
            </a:xfrm>
            <a:custGeom>
              <a:avLst/>
              <a:gdLst>
                <a:gd name="connsiteX0" fmla="*/ 16288 w 16478"/>
                <a:gd name="connsiteY0" fmla="*/ 0 h 53911"/>
                <a:gd name="connsiteX1" fmla="*/ 6953 w 16478"/>
                <a:gd name="connsiteY1" fmla="*/ 190 h 53911"/>
                <a:gd name="connsiteX2" fmla="*/ 2096 w 16478"/>
                <a:gd name="connsiteY2" fmla="*/ 1714 h 53911"/>
                <a:gd name="connsiteX3" fmla="*/ 190 w 16478"/>
                <a:gd name="connsiteY3" fmla="*/ 7048 h 53911"/>
                <a:gd name="connsiteX4" fmla="*/ 0 w 16478"/>
                <a:gd name="connsiteY4" fmla="*/ 53911 h 53911"/>
                <a:gd name="connsiteX5" fmla="*/ 4381 w 16478"/>
                <a:gd name="connsiteY5" fmla="*/ 53626 h 53911"/>
                <a:gd name="connsiteX6" fmla="*/ 4572 w 16478"/>
                <a:gd name="connsiteY6" fmla="*/ 7048 h 53911"/>
                <a:gd name="connsiteX7" fmla="*/ 5143 w 16478"/>
                <a:gd name="connsiteY7" fmla="*/ 4953 h 53911"/>
                <a:gd name="connsiteX8" fmla="*/ 7239 w 16478"/>
                <a:gd name="connsiteY8" fmla="*/ 4381 h 53911"/>
                <a:gd name="connsiteX9" fmla="*/ 16478 w 16478"/>
                <a:gd name="connsiteY9" fmla="*/ 4572 h 53911"/>
                <a:gd name="connsiteX10" fmla="*/ 16288 w 16478"/>
                <a:gd name="connsiteY10" fmla="*/ 0 h 53911"/>
                <a:gd name="connsiteX11" fmla="*/ 16288 w 16478"/>
                <a:gd name="connsiteY11" fmla="*/ 0 h 5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78" h="53911">
                  <a:moveTo>
                    <a:pt x="16288" y="0"/>
                  </a:moveTo>
                  <a:lnTo>
                    <a:pt x="6953" y="190"/>
                  </a:lnTo>
                  <a:cubicBezTo>
                    <a:pt x="6953" y="190"/>
                    <a:pt x="4191" y="-286"/>
                    <a:pt x="2096" y="1714"/>
                  </a:cubicBezTo>
                  <a:cubicBezTo>
                    <a:pt x="-95" y="3810"/>
                    <a:pt x="190" y="7048"/>
                    <a:pt x="190" y="7048"/>
                  </a:cubicBezTo>
                  <a:lnTo>
                    <a:pt x="0" y="53911"/>
                  </a:lnTo>
                  <a:lnTo>
                    <a:pt x="4381" y="53626"/>
                  </a:lnTo>
                  <a:lnTo>
                    <a:pt x="4572" y="7048"/>
                  </a:lnTo>
                  <a:cubicBezTo>
                    <a:pt x="4572" y="7048"/>
                    <a:pt x="4286" y="5715"/>
                    <a:pt x="5143" y="4953"/>
                  </a:cubicBezTo>
                  <a:cubicBezTo>
                    <a:pt x="5810" y="4286"/>
                    <a:pt x="7239" y="4381"/>
                    <a:pt x="7239" y="4381"/>
                  </a:cubicBezTo>
                  <a:lnTo>
                    <a:pt x="16478" y="4572"/>
                  </a:lnTo>
                  <a:lnTo>
                    <a:pt x="16288" y="0"/>
                  </a:lnTo>
                  <a:lnTo>
                    <a:pt x="16288" y="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A8813DA-CD4A-37D2-DAFD-3BE0B1C9898E}"/>
                </a:ext>
              </a:extLst>
            </p:cNvPr>
            <p:cNvSpPr/>
            <p:nvPr/>
          </p:nvSpPr>
          <p:spPr>
            <a:xfrm>
              <a:off x="5525883" y="3050457"/>
              <a:ext cx="376237" cy="46678"/>
            </a:xfrm>
            <a:custGeom>
              <a:avLst/>
              <a:gdLst>
                <a:gd name="connsiteX0" fmla="*/ 10763 w 376237"/>
                <a:gd name="connsiteY0" fmla="*/ 33915 h 46678"/>
                <a:gd name="connsiteX1" fmla="*/ 359664 w 376237"/>
                <a:gd name="connsiteY1" fmla="*/ 33819 h 46678"/>
                <a:gd name="connsiteX2" fmla="*/ 365093 w 376237"/>
                <a:gd name="connsiteY2" fmla="*/ 31819 h 46678"/>
                <a:gd name="connsiteX3" fmla="*/ 368617 w 376237"/>
                <a:gd name="connsiteY3" fmla="*/ 25723 h 46678"/>
                <a:gd name="connsiteX4" fmla="*/ 376238 w 376237"/>
                <a:gd name="connsiteY4" fmla="*/ 30200 h 46678"/>
                <a:gd name="connsiteX5" fmla="*/ 370237 w 376237"/>
                <a:gd name="connsiteY5" fmla="*/ 40296 h 46678"/>
                <a:gd name="connsiteX6" fmla="*/ 359569 w 376237"/>
                <a:gd name="connsiteY6" fmla="*/ 43630 h 46678"/>
                <a:gd name="connsiteX7" fmla="*/ 10382 w 376237"/>
                <a:gd name="connsiteY7" fmla="*/ 43440 h 46678"/>
                <a:gd name="connsiteX8" fmla="*/ 10287 w 376237"/>
                <a:gd name="connsiteY8" fmla="*/ 46678 h 46678"/>
                <a:gd name="connsiteX9" fmla="*/ 381 w 376237"/>
                <a:gd name="connsiteY9" fmla="*/ 45916 h 46678"/>
                <a:gd name="connsiteX10" fmla="*/ 0 w 376237"/>
                <a:gd name="connsiteY10" fmla="*/ 5149 h 46678"/>
                <a:gd name="connsiteX11" fmla="*/ 5239 w 376237"/>
                <a:gd name="connsiteY11" fmla="*/ 5 h 46678"/>
                <a:gd name="connsiteX12" fmla="*/ 10573 w 376237"/>
                <a:gd name="connsiteY12" fmla="*/ 4673 h 46678"/>
                <a:gd name="connsiteX13" fmla="*/ 10763 w 376237"/>
                <a:gd name="connsiteY13" fmla="*/ 33915 h 46678"/>
                <a:gd name="connsiteX14" fmla="*/ 10763 w 376237"/>
                <a:gd name="connsiteY14" fmla="*/ 33915 h 46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6237" h="46678">
                  <a:moveTo>
                    <a:pt x="10763" y="33915"/>
                  </a:moveTo>
                  <a:lnTo>
                    <a:pt x="359664" y="33819"/>
                  </a:lnTo>
                  <a:cubicBezTo>
                    <a:pt x="359664" y="33819"/>
                    <a:pt x="363760" y="33915"/>
                    <a:pt x="365093" y="31819"/>
                  </a:cubicBezTo>
                  <a:cubicBezTo>
                    <a:pt x="366427" y="29724"/>
                    <a:pt x="368617" y="25723"/>
                    <a:pt x="368617" y="25723"/>
                  </a:cubicBezTo>
                  <a:lnTo>
                    <a:pt x="376238" y="30200"/>
                  </a:lnTo>
                  <a:cubicBezTo>
                    <a:pt x="376238" y="30200"/>
                    <a:pt x="375571" y="36391"/>
                    <a:pt x="370237" y="40296"/>
                  </a:cubicBezTo>
                  <a:cubicBezTo>
                    <a:pt x="364903" y="44201"/>
                    <a:pt x="359569" y="43630"/>
                    <a:pt x="359569" y="43630"/>
                  </a:cubicBezTo>
                  <a:lnTo>
                    <a:pt x="10382" y="43440"/>
                  </a:lnTo>
                  <a:lnTo>
                    <a:pt x="10287" y="46678"/>
                  </a:lnTo>
                  <a:lnTo>
                    <a:pt x="381" y="45916"/>
                  </a:lnTo>
                  <a:lnTo>
                    <a:pt x="0" y="5149"/>
                  </a:lnTo>
                  <a:cubicBezTo>
                    <a:pt x="0" y="5149"/>
                    <a:pt x="476" y="196"/>
                    <a:pt x="5239" y="5"/>
                  </a:cubicBezTo>
                  <a:cubicBezTo>
                    <a:pt x="10001" y="-185"/>
                    <a:pt x="10573" y="4673"/>
                    <a:pt x="10573" y="4673"/>
                  </a:cubicBezTo>
                  <a:lnTo>
                    <a:pt x="10763" y="33915"/>
                  </a:lnTo>
                  <a:lnTo>
                    <a:pt x="10763" y="3391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A2405AAD-DB09-6661-AD81-8BC3BCA85023}"/>
                </a:ext>
              </a:extLst>
            </p:cNvPr>
            <p:cNvSpPr/>
            <p:nvPr/>
          </p:nvSpPr>
          <p:spPr>
            <a:xfrm>
              <a:off x="5501880" y="3052939"/>
              <a:ext cx="9429" cy="43433"/>
            </a:xfrm>
            <a:custGeom>
              <a:avLst/>
              <a:gdLst>
                <a:gd name="connsiteX0" fmla="*/ 9430 w 9429"/>
                <a:gd name="connsiteY0" fmla="*/ 43434 h 43433"/>
                <a:gd name="connsiteX1" fmla="*/ 9430 w 9429"/>
                <a:gd name="connsiteY1" fmla="*/ 0 h 43433"/>
                <a:gd name="connsiteX2" fmla="*/ 0 w 9429"/>
                <a:gd name="connsiteY2" fmla="*/ 0 h 43433"/>
                <a:gd name="connsiteX3" fmla="*/ 0 w 9429"/>
                <a:gd name="connsiteY3" fmla="*/ 43434 h 43433"/>
                <a:gd name="connsiteX4" fmla="*/ 9430 w 9429"/>
                <a:gd name="connsiteY4" fmla="*/ 43434 h 4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29" h="43433">
                  <a:moveTo>
                    <a:pt x="9430" y="43434"/>
                  </a:moveTo>
                  <a:lnTo>
                    <a:pt x="9430" y="0"/>
                  </a:lnTo>
                  <a:lnTo>
                    <a:pt x="0" y="0"/>
                  </a:lnTo>
                  <a:lnTo>
                    <a:pt x="0" y="43434"/>
                  </a:lnTo>
                  <a:lnTo>
                    <a:pt x="9430" y="4343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D846D530-9811-104C-3C70-E3865382D9CE}"/>
                </a:ext>
              </a:extLst>
            </p:cNvPr>
            <p:cNvSpPr/>
            <p:nvPr/>
          </p:nvSpPr>
          <p:spPr>
            <a:xfrm>
              <a:off x="5500355" y="3089515"/>
              <a:ext cx="12001" cy="1904"/>
            </a:xfrm>
            <a:custGeom>
              <a:avLst/>
              <a:gdLst>
                <a:gd name="connsiteX0" fmla="*/ 12002 w 12001"/>
                <a:gd name="connsiteY0" fmla="*/ 1905 h 1904"/>
                <a:gd name="connsiteX1" fmla="*/ 12002 w 12001"/>
                <a:gd name="connsiteY1" fmla="*/ 0 h 1904"/>
                <a:gd name="connsiteX2" fmla="*/ 0 w 12001"/>
                <a:gd name="connsiteY2" fmla="*/ 0 h 1904"/>
                <a:gd name="connsiteX3" fmla="*/ 0 w 12001"/>
                <a:gd name="connsiteY3" fmla="*/ 1905 h 1904"/>
                <a:gd name="connsiteX4" fmla="*/ 12002 w 12001"/>
                <a:gd name="connsiteY4" fmla="*/ 1905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1" h="1904">
                  <a:moveTo>
                    <a:pt x="12002" y="1905"/>
                  </a:moveTo>
                  <a:lnTo>
                    <a:pt x="12002" y="0"/>
                  </a:lnTo>
                  <a:lnTo>
                    <a:pt x="0" y="0"/>
                  </a:lnTo>
                  <a:lnTo>
                    <a:pt x="0" y="1905"/>
                  </a:lnTo>
                  <a:lnTo>
                    <a:pt x="12002" y="190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4B9CE100-FC25-6C28-20DE-FC5F0CA09096}"/>
                </a:ext>
              </a:extLst>
            </p:cNvPr>
            <p:cNvSpPr/>
            <p:nvPr/>
          </p:nvSpPr>
          <p:spPr>
            <a:xfrm>
              <a:off x="5461684" y="3045605"/>
              <a:ext cx="23145" cy="2286"/>
            </a:xfrm>
            <a:custGeom>
              <a:avLst/>
              <a:gdLst>
                <a:gd name="connsiteX0" fmla="*/ 23146 w 23145"/>
                <a:gd name="connsiteY0" fmla="*/ 2286 h 2286"/>
                <a:gd name="connsiteX1" fmla="*/ 23146 w 23145"/>
                <a:gd name="connsiteY1" fmla="*/ 0 h 2286"/>
                <a:gd name="connsiteX2" fmla="*/ 0 w 23145"/>
                <a:gd name="connsiteY2" fmla="*/ 0 h 2286"/>
                <a:gd name="connsiteX3" fmla="*/ 0 w 23145"/>
                <a:gd name="connsiteY3" fmla="*/ 2286 h 2286"/>
                <a:gd name="connsiteX4" fmla="*/ 23146 w 23145"/>
                <a:gd name="connsiteY4" fmla="*/ 2286 h 2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45" h="2286">
                  <a:moveTo>
                    <a:pt x="23146" y="2286"/>
                  </a:moveTo>
                  <a:lnTo>
                    <a:pt x="23146" y="0"/>
                  </a:lnTo>
                  <a:lnTo>
                    <a:pt x="0" y="0"/>
                  </a:lnTo>
                  <a:lnTo>
                    <a:pt x="0" y="2286"/>
                  </a:lnTo>
                  <a:lnTo>
                    <a:pt x="23146" y="228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DD22C208-360E-3999-E065-427B08DEC28C}"/>
                </a:ext>
              </a:extLst>
            </p:cNvPr>
            <p:cNvSpPr/>
            <p:nvPr/>
          </p:nvSpPr>
          <p:spPr>
            <a:xfrm>
              <a:off x="5413868" y="3045414"/>
              <a:ext cx="18097" cy="2095"/>
            </a:xfrm>
            <a:custGeom>
              <a:avLst/>
              <a:gdLst>
                <a:gd name="connsiteX0" fmla="*/ 18098 w 18097"/>
                <a:gd name="connsiteY0" fmla="*/ 2096 h 2095"/>
                <a:gd name="connsiteX1" fmla="*/ 18098 w 18097"/>
                <a:gd name="connsiteY1" fmla="*/ 0 h 2095"/>
                <a:gd name="connsiteX2" fmla="*/ 0 w 18097"/>
                <a:gd name="connsiteY2" fmla="*/ 0 h 2095"/>
                <a:gd name="connsiteX3" fmla="*/ 0 w 18097"/>
                <a:gd name="connsiteY3" fmla="*/ 2096 h 2095"/>
                <a:gd name="connsiteX4" fmla="*/ 18098 w 18097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97" h="2095">
                  <a:moveTo>
                    <a:pt x="18098" y="2096"/>
                  </a:moveTo>
                  <a:lnTo>
                    <a:pt x="18098" y="0"/>
                  </a:lnTo>
                  <a:lnTo>
                    <a:pt x="0" y="0"/>
                  </a:lnTo>
                  <a:lnTo>
                    <a:pt x="0" y="2096"/>
                  </a:lnTo>
                  <a:lnTo>
                    <a:pt x="18098" y="209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822B0668-AB1A-715F-B05D-2FA0C4079CF1}"/>
                </a:ext>
              </a:extLst>
            </p:cNvPr>
            <p:cNvSpPr/>
            <p:nvPr/>
          </p:nvSpPr>
          <p:spPr>
            <a:xfrm>
              <a:off x="5747053" y="2990836"/>
              <a:ext cx="10287" cy="38100"/>
            </a:xfrm>
            <a:custGeom>
              <a:avLst/>
              <a:gdLst>
                <a:gd name="connsiteX0" fmla="*/ 10287 w 10287"/>
                <a:gd name="connsiteY0" fmla="*/ 38100 h 38100"/>
                <a:gd name="connsiteX1" fmla="*/ 10287 w 10287"/>
                <a:gd name="connsiteY1" fmla="*/ 0 h 38100"/>
                <a:gd name="connsiteX2" fmla="*/ 0 w 10287"/>
                <a:gd name="connsiteY2" fmla="*/ 0 h 38100"/>
                <a:gd name="connsiteX3" fmla="*/ 0 w 10287"/>
                <a:gd name="connsiteY3" fmla="*/ 38100 h 38100"/>
                <a:gd name="connsiteX4" fmla="*/ 10287 w 10287"/>
                <a:gd name="connsiteY4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7" h="38100">
                  <a:moveTo>
                    <a:pt x="10287" y="38100"/>
                  </a:moveTo>
                  <a:lnTo>
                    <a:pt x="10287" y="0"/>
                  </a:lnTo>
                  <a:lnTo>
                    <a:pt x="0" y="0"/>
                  </a:lnTo>
                  <a:lnTo>
                    <a:pt x="0" y="38100"/>
                  </a:lnTo>
                  <a:lnTo>
                    <a:pt x="10287" y="3810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94F51AC9-7457-76F3-1F45-394531D3D508}"/>
                </a:ext>
              </a:extLst>
            </p:cNvPr>
            <p:cNvSpPr/>
            <p:nvPr/>
          </p:nvSpPr>
          <p:spPr>
            <a:xfrm>
              <a:off x="5574174" y="2990931"/>
              <a:ext cx="13049" cy="38100"/>
            </a:xfrm>
            <a:custGeom>
              <a:avLst/>
              <a:gdLst>
                <a:gd name="connsiteX0" fmla="*/ 13049 w 13049"/>
                <a:gd name="connsiteY0" fmla="*/ 38100 h 38100"/>
                <a:gd name="connsiteX1" fmla="*/ 13049 w 13049"/>
                <a:gd name="connsiteY1" fmla="*/ 0 h 38100"/>
                <a:gd name="connsiteX2" fmla="*/ 0 w 13049"/>
                <a:gd name="connsiteY2" fmla="*/ 0 h 38100"/>
                <a:gd name="connsiteX3" fmla="*/ 0 w 13049"/>
                <a:gd name="connsiteY3" fmla="*/ 38100 h 38100"/>
                <a:gd name="connsiteX4" fmla="*/ 13049 w 13049"/>
                <a:gd name="connsiteY4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9" h="38100">
                  <a:moveTo>
                    <a:pt x="13049" y="38100"/>
                  </a:moveTo>
                  <a:lnTo>
                    <a:pt x="13049" y="0"/>
                  </a:lnTo>
                  <a:lnTo>
                    <a:pt x="0" y="0"/>
                  </a:lnTo>
                  <a:lnTo>
                    <a:pt x="0" y="38100"/>
                  </a:lnTo>
                  <a:lnTo>
                    <a:pt x="13049" y="3810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AEF56768-9A09-E2C0-F0B2-7B52BFF5ECFA}"/>
                </a:ext>
              </a:extLst>
            </p:cNvPr>
            <p:cNvSpPr/>
            <p:nvPr/>
          </p:nvSpPr>
          <p:spPr>
            <a:xfrm>
              <a:off x="5517310" y="2899777"/>
              <a:ext cx="40957" cy="9810"/>
            </a:xfrm>
            <a:custGeom>
              <a:avLst/>
              <a:gdLst>
                <a:gd name="connsiteX0" fmla="*/ 40958 w 40957"/>
                <a:gd name="connsiteY0" fmla="*/ 9811 h 9810"/>
                <a:gd name="connsiteX1" fmla="*/ 40958 w 40957"/>
                <a:gd name="connsiteY1" fmla="*/ 0 h 9810"/>
                <a:gd name="connsiteX2" fmla="*/ 0 w 40957"/>
                <a:gd name="connsiteY2" fmla="*/ 0 h 9810"/>
                <a:gd name="connsiteX3" fmla="*/ 0 w 40957"/>
                <a:gd name="connsiteY3" fmla="*/ 9811 h 9810"/>
                <a:gd name="connsiteX4" fmla="*/ 40958 w 40957"/>
                <a:gd name="connsiteY4" fmla="*/ 9811 h 9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" h="9810">
                  <a:moveTo>
                    <a:pt x="40958" y="9811"/>
                  </a:moveTo>
                  <a:lnTo>
                    <a:pt x="40958" y="0"/>
                  </a:lnTo>
                  <a:lnTo>
                    <a:pt x="0" y="0"/>
                  </a:lnTo>
                  <a:lnTo>
                    <a:pt x="0" y="9811"/>
                  </a:lnTo>
                  <a:lnTo>
                    <a:pt x="40958" y="981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9A0181E-A1B5-3194-079B-CBD88BF3B2B2}"/>
                </a:ext>
              </a:extLst>
            </p:cNvPr>
            <p:cNvSpPr/>
            <p:nvPr/>
          </p:nvSpPr>
          <p:spPr>
            <a:xfrm>
              <a:off x="5432252" y="2887585"/>
              <a:ext cx="85629" cy="20097"/>
            </a:xfrm>
            <a:custGeom>
              <a:avLst/>
              <a:gdLst>
                <a:gd name="connsiteX0" fmla="*/ 85058 w 85629"/>
                <a:gd name="connsiteY0" fmla="*/ 15526 h 20097"/>
                <a:gd name="connsiteX1" fmla="*/ 9525 w 85629"/>
                <a:gd name="connsiteY1" fmla="*/ 15050 h 20097"/>
                <a:gd name="connsiteX2" fmla="*/ 6477 w 85629"/>
                <a:gd name="connsiteY2" fmla="*/ 13811 h 20097"/>
                <a:gd name="connsiteX3" fmla="*/ 5239 w 85629"/>
                <a:gd name="connsiteY3" fmla="*/ 10954 h 20097"/>
                <a:gd name="connsiteX4" fmla="*/ 5239 w 85629"/>
                <a:gd name="connsiteY4" fmla="*/ 95 h 20097"/>
                <a:gd name="connsiteX5" fmla="*/ 191 w 85629"/>
                <a:gd name="connsiteY5" fmla="*/ 0 h 20097"/>
                <a:gd name="connsiteX6" fmla="*/ 0 w 85629"/>
                <a:gd name="connsiteY6" fmla="*/ 10763 h 20097"/>
                <a:gd name="connsiteX7" fmla="*/ 2476 w 85629"/>
                <a:gd name="connsiteY7" fmla="*/ 16573 h 20097"/>
                <a:gd name="connsiteX8" fmla="*/ 9334 w 85629"/>
                <a:gd name="connsiteY8" fmla="*/ 20002 h 20097"/>
                <a:gd name="connsiteX9" fmla="*/ 85630 w 85629"/>
                <a:gd name="connsiteY9" fmla="*/ 20098 h 20097"/>
                <a:gd name="connsiteX10" fmla="*/ 85058 w 85629"/>
                <a:gd name="connsiteY10" fmla="*/ 15526 h 20097"/>
                <a:gd name="connsiteX11" fmla="*/ 85058 w 85629"/>
                <a:gd name="connsiteY11" fmla="*/ 15526 h 2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629" h="20097">
                  <a:moveTo>
                    <a:pt x="85058" y="15526"/>
                  </a:moveTo>
                  <a:lnTo>
                    <a:pt x="9525" y="15050"/>
                  </a:lnTo>
                  <a:cubicBezTo>
                    <a:pt x="9525" y="15050"/>
                    <a:pt x="7334" y="15050"/>
                    <a:pt x="6477" y="13811"/>
                  </a:cubicBezTo>
                  <a:cubicBezTo>
                    <a:pt x="5525" y="12573"/>
                    <a:pt x="5239" y="10954"/>
                    <a:pt x="5239" y="10954"/>
                  </a:cubicBezTo>
                  <a:lnTo>
                    <a:pt x="5239" y="95"/>
                  </a:lnTo>
                  <a:lnTo>
                    <a:pt x="191" y="0"/>
                  </a:lnTo>
                  <a:lnTo>
                    <a:pt x="0" y="10763"/>
                  </a:lnTo>
                  <a:cubicBezTo>
                    <a:pt x="0" y="10763"/>
                    <a:pt x="476" y="14288"/>
                    <a:pt x="2476" y="16573"/>
                  </a:cubicBezTo>
                  <a:cubicBezTo>
                    <a:pt x="4477" y="18859"/>
                    <a:pt x="9334" y="20002"/>
                    <a:pt x="9334" y="20002"/>
                  </a:cubicBezTo>
                  <a:lnTo>
                    <a:pt x="85630" y="20098"/>
                  </a:lnTo>
                  <a:lnTo>
                    <a:pt x="85058" y="15526"/>
                  </a:lnTo>
                  <a:lnTo>
                    <a:pt x="85058" y="1552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97B17EB-4E83-FB76-7926-EA65DCB31863}"/>
                </a:ext>
              </a:extLst>
            </p:cNvPr>
            <p:cNvSpPr/>
            <p:nvPr/>
          </p:nvSpPr>
          <p:spPr>
            <a:xfrm>
              <a:off x="5519405" y="3003695"/>
              <a:ext cx="267938" cy="4381"/>
            </a:xfrm>
            <a:custGeom>
              <a:avLst/>
              <a:gdLst>
                <a:gd name="connsiteX0" fmla="*/ 267938 w 267938"/>
                <a:gd name="connsiteY0" fmla="*/ 4381 h 4381"/>
                <a:gd name="connsiteX1" fmla="*/ 267938 w 267938"/>
                <a:gd name="connsiteY1" fmla="*/ 0 h 4381"/>
                <a:gd name="connsiteX2" fmla="*/ 0 w 267938"/>
                <a:gd name="connsiteY2" fmla="*/ 0 h 4381"/>
                <a:gd name="connsiteX3" fmla="*/ 0 w 267938"/>
                <a:gd name="connsiteY3" fmla="*/ 4381 h 4381"/>
                <a:gd name="connsiteX4" fmla="*/ 267938 w 267938"/>
                <a:gd name="connsiteY4" fmla="*/ 4381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38" h="4381">
                  <a:moveTo>
                    <a:pt x="267938" y="4381"/>
                  </a:moveTo>
                  <a:lnTo>
                    <a:pt x="267938" y="0"/>
                  </a:lnTo>
                  <a:lnTo>
                    <a:pt x="0" y="0"/>
                  </a:lnTo>
                  <a:lnTo>
                    <a:pt x="0" y="4381"/>
                  </a:lnTo>
                  <a:lnTo>
                    <a:pt x="267938" y="438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83B72A0D-B610-A2BC-22A0-C555ED49BC08}"/>
                </a:ext>
              </a:extLst>
            </p:cNvPr>
            <p:cNvSpPr/>
            <p:nvPr/>
          </p:nvSpPr>
          <p:spPr>
            <a:xfrm>
              <a:off x="5785058" y="2992931"/>
              <a:ext cx="11620" cy="7334"/>
            </a:xfrm>
            <a:custGeom>
              <a:avLst/>
              <a:gdLst>
                <a:gd name="connsiteX0" fmla="*/ 11621 w 11620"/>
                <a:gd name="connsiteY0" fmla="*/ 7334 h 7334"/>
                <a:gd name="connsiteX1" fmla="*/ 11621 w 11620"/>
                <a:gd name="connsiteY1" fmla="*/ 0 h 7334"/>
                <a:gd name="connsiteX2" fmla="*/ 0 w 11620"/>
                <a:gd name="connsiteY2" fmla="*/ 0 h 7334"/>
                <a:gd name="connsiteX3" fmla="*/ 0 w 11620"/>
                <a:gd name="connsiteY3" fmla="*/ 7334 h 7334"/>
                <a:gd name="connsiteX4" fmla="*/ 11621 w 11620"/>
                <a:gd name="connsiteY4" fmla="*/ 7334 h 7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20" h="7334">
                  <a:moveTo>
                    <a:pt x="11621" y="7334"/>
                  </a:moveTo>
                  <a:lnTo>
                    <a:pt x="11621" y="0"/>
                  </a:lnTo>
                  <a:lnTo>
                    <a:pt x="0" y="0"/>
                  </a:lnTo>
                  <a:lnTo>
                    <a:pt x="0" y="7334"/>
                  </a:lnTo>
                  <a:lnTo>
                    <a:pt x="11621" y="733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6" name="Freihandform: Form 895">
              <a:extLst>
                <a:ext uri="{FF2B5EF4-FFF2-40B4-BE49-F238E27FC236}">
                  <a16:creationId xmlns:a16="http://schemas.microsoft.com/office/drawing/2014/main" id="{D128272E-9401-6260-2D5D-B2E508171FB3}"/>
                </a:ext>
              </a:extLst>
            </p:cNvPr>
            <p:cNvSpPr/>
            <p:nvPr/>
          </p:nvSpPr>
          <p:spPr>
            <a:xfrm>
              <a:off x="5786201" y="3001028"/>
              <a:ext cx="9810" cy="9620"/>
            </a:xfrm>
            <a:custGeom>
              <a:avLst/>
              <a:gdLst>
                <a:gd name="connsiteX0" fmla="*/ 7429 w 9810"/>
                <a:gd name="connsiteY0" fmla="*/ 9620 h 9620"/>
                <a:gd name="connsiteX1" fmla="*/ 9811 w 9810"/>
                <a:gd name="connsiteY1" fmla="*/ 7239 h 9620"/>
                <a:gd name="connsiteX2" fmla="*/ 9811 w 9810"/>
                <a:gd name="connsiteY2" fmla="*/ 2381 h 9620"/>
                <a:gd name="connsiteX3" fmla="*/ 7429 w 9810"/>
                <a:gd name="connsiteY3" fmla="*/ 0 h 9620"/>
                <a:gd name="connsiteX4" fmla="*/ 2381 w 9810"/>
                <a:gd name="connsiteY4" fmla="*/ 0 h 9620"/>
                <a:gd name="connsiteX5" fmla="*/ 0 w 9810"/>
                <a:gd name="connsiteY5" fmla="*/ 2381 h 9620"/>
                <a:gd name="connsiteX6" fmla="*/ 0 w 9810"/>
                <a:gd name="connsiteY6" fmla="*/ 7239 h 9620"/>
                <a:gd name="connsiteX7" fmla="*/ 2381 w 9810"/>
                <a:gd name="connsiteY7" fmla="*/ 9620 h 9620"/>
                <a:gd name="connsiteX8" fmla="*/ 7429 w 9810"/>
                <a:gd name="connsiteY8" fmla="*/ 9620 h 9620"/>
                <a:gd name="connsiteX9" fmla="*/ 7429 w 9810"/>
                <a:gd name="connsiteY9" fmla="*/ 9620 h 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810" h="9620">
                  <a:moveTo>
                    <a:pt x="7429" y="9620"/>
                  </a:moveTo>
                  <a:cubicBezTo>
                    <a:pt x="8763" y="9620"/>
                    <a:pt x="9811" y="8572"/>
                    <a:pt x="9811" y="7239"/>
                  </a:cubicBezTo>
                  <a:lnTo>
                    <a:pt x="9811" y="2381"/>
                  </a:lnTo>
                  <a:cubicBezTo>
                    <a:pt x="9811" y="1048"/>
                    <a:pt x="8763" y="0"/>
                    <a:pt x="7429" y="0"/>
                  </a:cubicBezTo>
                  <a:lnTo>
                    <a:pt x="2381" y="0"/>
                  </a:lnTo>
                  <a:cubicBezTo>
                    <a:pt x="1048" y="0"/>
                    <a:pt x="0" y="1048"/>
                    <a:pt x="0" y="2381"/>
                  </a:cubicBezTo>
                  <a:lnTo>
                    <a:pt x="0" y="7239"/>
                  </a:lnTo>
                  <a:cubicBezTo>
                    <a:pt x="0" y="8572"/>
                    <a:pt x="1048" y="9620"/>
                    <a:pt x="2381" y="9620"/>
                  </a:cubicBezTo>
                  <a:lnTo>
                    <a:pt x="7429" y="9620"/>
                  </a:lnTo>
                  <a:lnTo>
                    <a:pt x="7429" y="962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7" name="Freihandform: Form 896">
              <a:extLst>
                <a:ext uri="{FF2B5EF4-FFF2-40B4-BE49-F238E27FC236}">
                  <a16:creationId xmlns:a16="http://schemas.microsoft.com/office/drawing/2014/main" id="{C1872AA0-56E6-DC8E-AEC2-5407625046E3}"/>
                </a:ext>
              </a:extLst>
            </p:cNvPr>
            <p:cNvSpPr/>
            <p:nvPr/>
          </p:nvSpPr>
          <p:spPr>
            <a:xfrm>
              <a:off x="5787439" y="2996646"/>
              <a:ext cx="6286" cy="7715"/>
            </a:xfrm>
            <a:custGeom>
              <a:avLst/>
              <a:gdLst>
                <a:gd name="connsiteX0" fmla="*/ 6287 w 6286"/>
                <a:gd name="connsiteY0" fmla="*/ 7715 h 7715"/>
                <a:gd name="connsiteX1" fmla="*/ 6287 w 6286"/>
                <a:gd name="connsiteY1" fmla="*/ 0 h 7715"/>
                <a:gd name="connsiteX2" fmla="*/ 0 w 6286"/>
                <a:gd name="connsiteY2" fmla="*/ 0 h 7715"/>
                <a:gd name="connsiteX3" fmla="*/ 0 w 6286"/>
                <a:gd name="connsiteY3" fmla="*/ 7715 h 7715"/>
                <a:gd name="connsiteX4" fmla="*/ 6287 w 6286"/>
                <a:gd name="connsiteY4" fmla="*/ 7715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" h="7715">
                  <a:moveTo>
                    <a:pt x="6287" y="7715"/>
                  </a:moveTo>
                  <a:lnTo>
                    <a:pt x="6287" y="0"/>
                  </a:lnTo>
                  <a:lnTo>
                    <a:pt x="0" y="0"/>
                  </a:lnTo>
                  <a:lnTo>
                    <a:pt x="0" y="7715"/>
                  </a:lnTo>
                  <a:lnTo>
                    <a:pt x="6287" y="771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8" name="Freihandform: Form 897">
              <a:extLst>
                <a:ext uri="{FF2B5EF4-FFF2-40B4-BE49-F238E27FC236}">
                  <a16:creationId xmlns:a16="http://schemas.microsoft.com/office/drawing/2014/main" id="{FE279161-D04F-FFA9-FF26-185925A3C8A2}"/>
                </a:ext>
              </a:extLst>
            </p:cNvPr>
            <p:cNvSpPr/>
            <p:nvPr/>
          </p:nvSpPr>
          <p:spPr>
            <a:xfrm>
              <a:off x="5782010" y="2996837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7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5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7"/>
                    <a:pt x="9049" y="18097"/>
                  </a:cubicBezTo>
                  <a:cubicBezTo>
                    <a:pt x="4000" y="18097"/>
                    <a:pt x="0" y="14002"/>
                    <a:pt x="0" y="9049"/>
                  </a:cubicBezTo>
                  <a:cubicBezTo>
                    <a:pt x="0" y="4000"/>
                    <a:pt x="4096" y="0"/>
                    <a:pt x="9049" y="0"/>
                  </a:cubicBezTo>
                  <a:cubicBezTo>
                    <a:pt x="14097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5"/>
                    <a:pt x="9049" y="17335"/>
                  </a:cubicBezTo>
                  <a:cubicBezTo>
                    <a:pt x="4477" y="17335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9" name="Freihandform: Form 898">
              <a:extLst>
                <a:ext uri="{FF2B5EF4-FFF2-40B4-BE49-F238E27FC236}">
                  <a16:creationId xmlns:a16="http://schemas.microsoft.com/office/drawing/2014/main" id="{F8B88D4B-2F97-FF0B-A47F-6D3600DC3925}"/>
                </a:ext>
              </a:extLst>
            </p:cNvPr>
            <p:cNvSpPr/>
            <p:nvPr/>
          </p:nvSpPr>
          <p:spPr>
            <a:xfrm>
              <a:off x="5790773" y="3007505"/>
              <a:ext cx="762" cy="6858"/>
            </a:xfrm>
            <a:custGeom>
              <a:avLst/>
              <a:gdLst>
                <a:gd name="connsiteX0" fmla="*/ 762 w 762"/>
                <a:gd name="connsiteY0" fmla="*/ 6858 h 6858"/>
                <a:gd name="connsiteX1" fmla="*/ 762 w 762"/>
                <a:gd name="connsiteY1" fmla="*/ 0 h 6858"/>
                <a:gd name="connsiteX2" fmla="*/ 0 w 762"/>
                <a:gd name="connsiteY2" fmla="*/ 0 h 6858"/>
                <a:gd name="connsiteX3" fmla="*/ 0 w 762"/>
                <a:gd name="connsiteY3" fmla="*/ 6858 h 6858"/>
                <a:gd name="connsiteX4" fmla="*/ 762 w 762"/>
                <a:gd name="connsiteY4" fmla="*/ 6858 h 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6858">
                  <a:moveTo>
                    <a:pt x="762" y="685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858"/>
                  </a:lnTo>
                  <a:lnTo>
                    <a:pt x="762" y="6858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0" name="Freihandform: Form 899">
              <a:extLst>
                <a:ext uri="{FF2B5EF4-FFF2-40B4-BE49-F238E27FC236}">
                  <a16:creationId xmlns:a16="http://schemas.microsoft.com/office/drawing/2014/main" id="{75BA9A67-245E-F3A9-7D5D-D20414F21EC0}"/>
                </a:ext>
              </a:extLst>
            </p:cNvPr>
            <p:cNvSpPr/>
            <p:nvPr/>
          </p:nvSpPr>
          <p:spPr>
            <a:xfrm>
              <a:off x="5782486" y="3005980"/>
              <a:ext cx="7524" cy="2095"/>
            </a:xfrm>
            <a:custGeom>
              <a:avLst/>
              <a:gdLst>
                <a:gd name="connsiteX0" fmla="*/ 95 w 7524"/>
                <a:gd name="connsiteY0" fmla="*/ 2096 h 2095"/>
                <a:gd name="connsiteX1" fmla="*/ 7525 w 7524"/>
                <a:gd name="connsiteY1" fmla="*/ 762 h 2095"/>
                <a:gd name="connsiteX2" fmla="*/ 7334 w 7524"/>
                <a:gd name="connsiteY2" fmla="*/ 0 h 2095"/>
                <a:gd name="connsiteX3" fmla="*/ 0 w 7524"/>
                <a:gd name="connsiteY3" fmla="*/ 1333 h 2095"/>
                <a:gd name="connsiteX4" fmla="*/ 95 w 7524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2095">
                  <a:moveTo>
                    <a:pt x="95" y="2096"/>
                  </a:moveTo>
                  <a:lnTo>
                    <a:pt x="7525" y="762"/>
                  </a:lnTo>
                  <a:lnTo>
                    <a:pt x="7334" y="0"/>
                  </a:lnTo>
                  <a:lnTo>
                    <a:pt x="0" y="1333"/>
                  </a:lnTo>
                  <a:lnTo>
                    <a:pt x="95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1" name="Freihandform: Form 900">
              <a:extLst>
                <a:ext uri="{FF2B5EF4-FFF2-40B4-BE49-F238E27FC236}">
                  <a16:creationId xmlns:a16="http://schemas.microsoft.com/office/drawing/2014/main" id="{DD16CFC5-1B44-02DA-B738-01EEB1D8973A}"/>
                </a:ext>
              </a:extLst>
            </p:cNvPr>
            <p:cNvSpPr/>
            <p:nvPr/>
          </p:nvSpPr>
          <p:spPr>
            <a:xfrm>
              <a:off x="5785248" y="2999122"/>
              <a:ext cx="5143" cy="5524"/>
            </a:xfrm>
            <a:custGeom>
              <a:avLst/>
              <a:gdLst>
                <a:gd name="connsiteX0" fmla="*/ 0 w 5143"/>
                <a:gd name="connsiteY0" fmla="*/ 476 h 5524"/>
                <a:gd name="connsiteX1" fmla="*/ 4572 w 5143"/>
                <a:gd name="connsiteY1" fmla="*/ 5525 h 5524"/>
                <a:gd name="connsiteX2" fmla="*/ 5143 w 5143"/>
                <a:gd name="connsiteY2" fmla="*/ 5048 h 5524"/>
                <a:gd name="connsiteX3" fmla="*/ 571 w 5143"/>
                <a:gd name="connsiteY3" fmla="*/ 0 h 5524"/>
                <a:gd name="connsiteX4" fmla="*/ 0 w 5143"/>
                <a:gd name="connsiteY4" fmla="*/ 476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524">
                  <a:moveTo>
                    <a:pt x="0" y="476"/>
                  </a:moveTo>
                  <a:lnTo>
                    <a:pt x="4572" y="5525"/>
                  </a:lnTo>
                  <a:lnTo>
                    <a:pt x="5143" y="5048"/>
                  </a:lnTo>
                  <a:lnTo>
                    <a:pt x="571" y="0"/>
                  </a:lnTo>
                  <a:lnTo>
                    <a:pt x="0" y="47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2" name="Freihandform: Form 901">
              <a:extLst>
                <a:ext uri="{FF2B5EF4-FFF2-40B4-BE49-F238E27FC236}">
                  <a16:creationId xmlns:a16="http://schemas.microsoft.com/office/drawing/2014/main" id="{1D486335-916E-290D-B27C-BB9F64411F93}"/>
                </a:ext>
              </a:extLst>
            </p:cNvPr>
            <p:cNvSpPr/>
            <p:nvPr/>
          </p:nvSpPr>
          <p:spPr>
            <a:xfrm>
              <a:off x="5791630" y="2998265"/>
              <a:ext cx="4191" cy="6191"/>
            </a:xfrm>
            <a:custGeom>
              <a:avLst/>
              <a:gdLst>
                <a:gd name="connsiteX0" fmla="*/ 3620 w 4191"/>
                <a:gd name="connsiteY0" fmla="*/ 0 h 6191"/>
                <a:gd name="connsiteX1" fmla="*/ 0 w 4191"/>
                <a:gd name="connsiteY1" fmla="*/ 5810 h 6191"/>
                <a:gd name="connsiteX2" fmla="*/ 667 w 4191"/>
                <a:gd name="connsiteY2" fmla="*/ 6191 h 6191"/>
                <a:gd name="connsiteX3" fmla="*/ 4191 w 4191"/>
                <a:gd name="connsiteY3" fmla="*/ 381 h 6191"/>
                <a:gd name="connsiteX4" fmla="*/ 3620 w 4191"/>
                <a:gd name="connsiteY4" fmla="*/ 0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191">
                  <a:moveTo>
                    <a:pt x="3620" y="0"/>
                  </a:moveTo>
                  <a:lnTo>
                    <a:pt x="0" y="5810"/>
                  </a:lnTo>
                  <a:lnTo>
                    <a:pt x="667" y="6191"/>
                  </a:lnTo>
                  <a:lnTo>
                    <a:pt x="4191" y="381"/>
                  </a:lnTo>
                  <a:lnTo>
                    <a:pt x="3620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3" name="Freihandform: Form 902">
              <a:extLst>
                <a:ext uri="{FF2B5EF4-FFF2-40B4-BE49-F238E27FC236}">
                  <a16:creationId xmlns:a16="http://schemas.microsoft.com/office/drawing/2014/main" id="{A2D8573E-181C-48D9-C470-19FFB01748B6}"/>
                </a:ext>
              </a:extLst>
            </p:cNvPr>
            <p:cNvSpPr/>
            <p:nvPr/>
          </p:nvSpPr>
          <p:spPr>
            <a:xfrm>
              <a:off x="5792678" y="3005885"/>
              <a:ext cx="6858" cy="2571"/>
            </a:xfrm>
            <a:custGeom>
              <a:avLst/>
              <a:gdLst>
                <a:gd name="connsiteX0" fmla="*/ 6858 w 6858"/>
                <a:gd name="connsiteY0" fmla="*/ 1810 h 2571"/>
                <a:gd name="connsiteX1" fmla="*/ 191 w 6858"/>
                <a:gd name="connsiteY1" fmla="*/ 0 h 2571"/>
                <a:gd name="connsiteX2" fmla="*/ 0 w 6858"/>
                <a:gd name="connsiteY2" fmla="*/ 762 h 2571"/>
                <a:gd name="connsiteX3" fmla="*/ 6667 w 6858"/>
                <a:gd name="connsiteY3" fmla="*/ 2572 h 2571"/>
                <a:gd name="connsiteX4" fmla="*/ 6858 w 6858"/>
                <a:gd name="connsiteY4" fmla="*/ 1810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8" h="2571">
                  <a:moveTo>
                    <a:pt x="6858" y="1810"/>
                  </a:moveTo>
                  <a:lnTo>
                    <a:pt x="191" y="0"/>
                  </a:lnTo>
                  <a:lnTo>
                    <a:pt x="0" y="762"/>
                  </a:lnTo>
                  <a:lnTo>
                    <a:pt x="6667" y="2572"/>
                  </a:lnTo>
                  <a:lnTo>
                    <a:pt x="6858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4" name="Freihandform: Form 903">
              <a:extLst>
                <a:ext uri="{FF2B5EF4-FFF2-40B4-BE49-F238E27FC236}">
                  <a16:creationId xmlns:a16="http://schemas.microsoft.com/office/drawing/2014/main" id="{9412C55F-A433-B0BC-3615-752F5D9669B5}"/>
                </a:ext>
              </a:extLst>
            </p:cNvPr>
            <p:cNvSpPr/>
            <p:nvPr/>
          </p:nvSpPr>
          <p:spPr>
            <a:xfrm>
              <a:off x="5789154" y="3003599"/>
              <a:ext cx="4191" cy="4191"/>
            </a:xfrm>
            <a:custGeom>
              <a:avLst/>
              <a:gdLst>
                <a:gd name="connsiteX0" fmla="*/ 4191 w 4191"/>
                <a:gd name="connsiteY0" fmla="*/ 2096 h 4191"/>
                <a:gd name="connsiteX1" fmla="*/ 2096 w 4191"/>
                <a:gd name="connsiteY1" fmla="*/ 4191 h 4191"/>
                <a:gd name="connsiteX2" fmla="*/ 0 w 4191"/>
                <a:gd name="connsiteY2" fmla="*/ 2096 h 4191"/>
                <a:gd name="connsiteX3" fmla="*/ 2096 w 4191"/>
                <a:gd name="connsiteY3" fmla="*/ 0 h 4191"/>
                <a:gd name="connsiteX4" fmla="*/ 4191 w 4191"/>
                <a:gd name="connsiteY4" fmla="*/ 2096 h 4191"/>
                <a:gd name="connsiteX5" fmla="*/ 4191 w 4191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" h="4191">
                  <a:moveTo>
                    <a:pt x="4191" y="2096"/>
                  </a:moveTo>
                  <a:cubicBezTo>
                    <a:pt x="4191" y="3238"/>
                    <a:pt x="3238" y="4191"/>
                    <a:pt x="2096" y="4191"/>
                  </a:cubicBezTo>
                  <a:cubicBezTo>
                    <a:pt x="952" y="4191"/>
                    <a:pt x="0" y="3238"/>
                    <a:pt x="0" y="2096"/>
                  </a:cubicBezTo>
                  <a:cubicBezTo>
                    <a:pt x="0" y="953"/>
                    <a:pt x="952" y="0"/>
                    <a:pt x="2096" y="0"/>
                  </a:cubicBezTo>
                  <a:cubicBezTo>
                    <a:pt x="3238" y="95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5" name="Freihandform: Form 904">
              <a:extLst>
                <a:ext uri="{FF2B5EF4-FFF2-40B4-BE49-F238E27FC236}">
                  <a16:creationId xmlns:a16="http://schemas.microsoft.com/office/drawing/2014/main" id="{84D4C866-74EA-96F8-36FC-6910A1F117E2}"/>
                </a:ext>
              </a:extLst>
            </p:cNvPr>
            <p:cNvSpPr/>
            <p:nvPr/>
          </p:nvSpPr>
          <p:spPr>
            <a:xfrm>
              <a:off x="5853733" y="3081038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7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5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7"/>
                    <a:pt x="9049" y="18097"/>
                  </a:cubicBezTo>
                  <a:cubicBezTo>
                    <a:pt x="4000" y="18097"/>
                    <a:pt x="0" y="14002"/>
                    <a:pt x="0" y="9049"/>
                  </a:cubicBezTo>
                  <a:cubicBezTo>
                    <a:pt x="0" y="4000"/>
                    <a:pt x="4096" y="0"/>
                    <a:pt x="9049" y="0"/>
                  </a:cubicBezTo>
                  <a:cubicBezTo>
                    <a:pt x="14002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5"/>
                    <a:pt x="9049" y="17335"/>
                  </a:cubicBezTo>
                  <a:cubicBezTo>
                    <a:pt x="4477" y="17335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6" name="Freihandform: Form 905">
              <a:extLst>
                <a:ext uri="{FF2B5EF4-FFF2-40B4-BE49-F238E27FC236}">
                  <a16:creationId xmlns:a16="http://schemas.microsoft.com/office/drawing/2014/main" id="{70843D2B-6042-8BDD-CD94-1171498345D8}"/>
                </a:ext>
              </a:extLst>
            </p:cNvPr>
            <p:cNvSpPr/>
            <p:nvPr/>
          </p:nvSpPr>
          <p:spPr>
            <a:xfrm>
              <a:off x="5862401" y="3091705"/>
              <a:ext cx="761" cy="6762"/>
            </a:xfrm>
            <a:custGeom>
              <a:avLst/>
              <a:gdLst>
                <a:gd name="connsiteX0" fmla="*/ 762 w 761"/>
                <a:gd name="connsiteY0" fmla="*/ 6763 h 6762"/>
                <a:gd name="connsiteX1" fmla="*/ 762 w 761"/>
                <a:gd name="connsiteY1" fmla="*/ 0 h 6762"/>
                <a:gd name="connsiteX2" fmla="*/ 0 w 761"/>
                <a:gd name="connsiteY2" fmla="*/ 0 h 6762"/>
                <a:gd name="connsiteX3" fmla="*/ 0 w 761"/>
                <a:gd name="connsiteY3" fmla="*/ 6763 h 6762"/>
                <a:gd name="connsiteX4" fmla="*/ 762 w 761"/>
                <a:gd name="connsiteY4" fmla="*/ 6763 h 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" h="6762">
                  <a:moveTo>
                    <a:pt x="762" y="6763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763"/>
                  </a:lnTo>
                  <a:lnTo>
                    <a:pt x="762" y="676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7" name="Freihandform: Form 906">
              <a:extLst>
                <a:ext uri="{FF2B5EF4-FFF2-40B4-BE49-F238E27FC236}">
                  <a16:creationId xmlns:a16="http://schemas.microsoft.com/office/drawing/2014/main" id="{844AA71A-E4F9-C1F5-B324-E4DB8863335C}"/>
                </a:ext>
              </a:extLst>
            </p:cNvPr>
            <p:cNvSpPr/>
            <p:nvPr/>
          </p:nvSpPr>
          <p:spPr>
            <a:xfrm>
              <a:off x="5854114" y="3090181"/>
              <a:ext cx="7524" cy="2095"/>
            </a:xfrm>
            <a:custGeom>
              <a:avLst/>
              <a:gdLst>
                <a:gd name="connsiteX0" fmla="*/ 191 w 7524"/>
                <a:gd name="connsiteY0" fmla="*/ 2096 h 2095"/>
                <a:gd name="connsiteX1" fmla="*/ 7525 w 7524"/>
                <a:gd name="connsiteY1" fmla="*/ 667 h 2095"/>
                <a:gd name="connsiteX2" fmla="*/ 7429 w 7524"/>
                <a:gd name="connsiteY2" fmla="*/ 0 h 2095"/>
                <a:gd name="connsiteX3" fmla="*/ 0 w 7524"/>
                <a:gd name="connsiteY3" fmla="*/ 1334 h 2095"/>
                <a:gd name="connsiteX4" fmla="*/ 191 w 7524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2095">
                  <a:moveTo>
                    <a:pt x="191" y="2096"/>
                  </a:moveTo>
                  <a:lnTo>
                    <a:pt x="7525" y="667"/>
                  </a:lnTo>
                  <a:lnTo>
                    <a:pt x="7429" y="0"/>
                  </a:lnTo>
                  <a:lnTo>
                    <a:pt x="0" y="1334"/>
                  </a:lnTo>
                  <a:lnTo>
                    <a:pt x="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8" name="Freihandform: Form 907">
              <a:extLst>
                <a:ext uri="{FF2B5EF4-FFF2-40B4-BE49-F238E27FC236}">
                  <a16:creationId xmlns:a16="http://schemas.microsoft.com/office/drawing/2014/main" id="{28804FD6-13B4-144D-0B5F-130D6024C38E}"/>
                </a:ext>
              </a:extLst>
            </p:cNvPr>
            <p:cNvSpPr/>
            <p:nvPr/>
          </p:nvSpPr>
          <p:spPr>
            <a:xfrm>
              <a:off x="5856876" y="3083324"/>
              <a:ext cx="5238" cy="5524"/>
            </a:xfrm>
            <a:custGeom>
              <a:avLst/>
              <a:gdLst>
                <a:gd name="connsiteX0" fmla="*/ 0 w 5238"/>
                <a:gd name="connsiteY0" fmla="*/ 476 h 5524"/>
                <a:gd name="connsiteX1" fmla="*/ 4667 w 5238"/>
                <a:gd name="connsiteY1" fmla="*/ 5524 h 5524"/>
                <a:gd name="connsiteX2" fmla="*/ 5239 w 5238"/>
                <a:gd name="connsiteY2" fmla="*/ 5048 h 5524"/>
                <a:gd name="connsiteX3" fmla="*/ 571 w 5238"/>
                <a:gd name="connsiteY3" fmla="*/ 0 h 5524"/>
                <a:gd name="connsiteX4" fmla="*/ 0 w 5238"/>
                <a:gd name="connsiteY4" fmla="*/ 476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8" h="5524">
                  <a:moveTo>
                    <a:pt x="0" y="476"/>
                  </a:moveTo>
                  <a:lnTo>
                    <a:pt x="4667" y="5524"/>
                  </a:lnTo>
                  <a:lnTo>
                    <a:pt x="5239" y="5048"/>
                  </a:lnTo>
                  <a:lnTo>
                    <a:pt x="571" y="0"/>
                  </a:lnTo>
                  <a:lnTo>
                    <a:pt x="0" y="47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9" name="Freihandform: Form 908">
              <a:extLst>
                <a:ext uri="{FF2B5EF4-FFF2-40B4-BE49-F238E27FC236}">
                  <a16:creationId xmlns:a16="http://schemas.microsoft.com/office/drawing/2014/main" id="{C601EC75-32D8-5F45-5A9D-990062FF6C88}"/>
                </a:ext>
              </a:extLst>
            </p:cNvPr>
            <p:cNvSpPr/>
            <p:nvPr/>
          </p:nvSpPr>
          <p:spPr>
            <a:xfrm>
              <a:off x="5863353" y="3082466"/>
              <a:ext cx="4191" cy="6191"/>
            </a:xfrm>
            <a:custGeom>
              <a:avLst/>
              <a:gdLst>
                <a:gd name="connsiteX0" fmla="*/ 3524 w 4191"/>
                <a:gd name="connsiteY0" fmla="*/ 0 h 6191"/>
                <a:gd name="connsiteX1" fmla="*/ 0 w 4191"/>
                <a:gd name="connsiteY1" fmla="*/ 5810 h 6191"/>
                <a:gd name="connsiteX2" fmla="*/ 667 w 4191"/>
                <a:gd name="connsiteY2" fmla="*/ 6191 h 6191"/>
                <a:gd name="connsiteX3" fmla="*/ 4191 w 4191"/>
                <a:gd name="connsiteY3" fmla="*/ 381 h 6191"/>
                <a:gd name="connsiteX4" fmla="*/ 3524 w 4191"/>
                <a:gd name="connsiteY4" fmla="*/ 0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191">
                  <a:moveTo>
                    <a:pt x="3524" y="0"/>
                  </a:moveTo>
                  <a:lnTo>
                    <a:pt x="0" y="5810"/>
                  </a:lnTo>
                  <a:lnTo>
                    <a:pt x="667" y="6191"/>
                  </a:lnTo>
                  <a:lnTo>
                    <a:pt x="4191" y="381"/>
                  </a:lnTo>
                  <a:lnTo>
                    <a:pt x="3524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0" name="Freihandform: Form 909">
              <a:extLst>
                <a:ext uri="{FF2B5EF4-FFF2-40B4-BE49-F238E27FC236}">
                  <a16:creationId xmlns:a16="http://schemas.microsoft.com/office/drawing/2014/main" id="{27122036-3AFC-3554-1D3C-34A3D7D72437}"/>
                </a:ext>
              </a:extLst>
            </p:cNvPr>
            <p:cNvSpPr/>
            <p:nvPr/>
          </p:nvSpPr>
          <p:spPr>
            <a:xfrm>
              <a:off x="5864401" y="3090086"/>
              <a:ext cx="6762" cy="2571"/>
            </a:xfrm>
            <a:custGeom>
              <a:avLst/>
              <a:gdLst>
                <a:gd name="connsiteX0" fmla="*/ 6763 w 6762"/>
                <a:gd name="connsiteY0" fmla="*/ 1810 h 2571"/>
                <a:gd name="connsiteX1" fmla="*/ 191 w 6762"/>
                <a:gd name="connsiteY1" fmla="*/ 0 h 2571"/>
                <a:gd name="connsiteX2" fmla="*/ 0 w 6762"/>
                <a:gd name="connsiteY2" fmla="*/ 762 h 2571"/>
                <a:gd name="connsiteX3" fmla="*/ 6572 w 6762"/>
                <a:gd name="connsiteY3" fmla="*/ 2572 h 2571"/>
                <a:gd name="connsiteX4" fmla="*/ 6763 w 6762"/>
                <a:gd name="connsiteY4" fmla="*/ 1810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" h="2571">
                  <a:moveTo>
                    <a:pt x="6763" y="1810"/>
                  </a:moveTo>
                  <a:lnTo>
                    <a:pt x="191" y="0"/>
                  </a:lnTo>
                  <a:lnTo>
                    <a:pt x="0" y="762"/>
                  </a:lnTo>
                  <a:lnTo>
                    <a:pt x="6572" y="2572"/>
                  </a:lnTo>
                  <a:lnTo>
                    <a:pt x="6763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1" name="Freihandform: Form 910">
              <a:extLst>
                <a:ext uri="{FF2B5EF4-FFF2-40B4-BE49-F238E27FC236}">
                  <a16:creationId xmlns:a16="http://schemas.microsoft.com/office/drawing/2014/main" id="{0762E9DD-51DE-8F37-393B-E021FCF746FC}"/>
                </a:ext>
              </a:extLst>
            </p:cNvPr>
            <p:cNvSpPr/>
            <p:nvPr/>
          </p:nvSpPr>
          <p:spPr>
            <a:xfrm>
              <a:off x="5860781" y="3087800"/>
              <a:ext cx="4191" cy="4191"/>
            </a:xfrm>
            <a:custGeom>
              <a:avLst/>
              <a:gdLst>
                <a:gd name="connsiteX0" fmla="*/ 4191 w 4191"/>
                <a:gd name="connsiteY0" fmla="*/ 2096 h 4191"/>
                <a:gd name="connsiteX1" fmla="*/ 2096 w 4191"/>
                <a:gd name="connsiteY1" fmla="*/ 4191 h 4191"/>
                <a:gd name="connsiteX2" fmla="*/ 0 w 4191"/>
                <a:gd name="connsiteY2" fmla="*/ 2096 h 4191"/>
                <a:gd name="connsiteX3" fmla="*/ 2096 w 4191"/>
                <a:gd name="connsiteY3" fmla="*/ 0 h 4191"/>
                <a:gd name="connsiteX4" fmla="*/ 4191 w 4191"/>
                <a:gd name="connsiteY4" fmla="*/ 2096 h 4191"/>
                <a:gd name="connsiteX5" fmla="*/ 4191 w 4191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" h="4191">
                  <a:moveTo>
                    <a:pt x="4191" y="2096"/>
                  </a:moveTo>
                  <a:cubicBezTo>
                    <a:pt x="4191" y="3239"/>
                    <a:pt x="3239" y="4191"/>
                    <a:pt x="2096" y="4191"/>
                  </a:cubicBezTo>
                  <a:cubicBezTo>
                    <a:pt x="953" y="4191"/>
                    <a:pt x="0" y="3239"/>
                    <a:pt x="0" y="2096"/>
                  </a:cubicBezTo>
                  <a:cubicBezTo>
                    <a:pt x="0" y="953"/>
                    <a:pt x="953" y="0"/>
                    <a:pt x="2096" y="0"/>
                  </a:cubicBezTo>
                  <a:cubicBezTo>
                    <a:pt x="3239" y="0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2" name="Freihandform: Form 911">
              <a:extLst>
                <a:ext uri="{FF2B5EF4-FFF2-40B4-BE49-F238E27FC236}">
                  <a16:creationId xmlns:a16="http://schemas.microsoft.com/office/drawing/2014/main" id="{B0E209BD-9954-741D-6395-53944CF82B55}"/>
                </a:ext>
              </a:extLst>
            </p:cNvPr>
            <p:cNvSpPr/>
            <p:nvPr/>
          </p:nvSpPr>
          <p:spPr>
            <a:xfrm>
              <a:off x="5476734" y="2873488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8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6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8"/>
                    <a:pt x="9049" y="18098"/>
                  </a:cubicBezTo>
                  <a:cubicBezTo>
                    <a:pt x="4000" y="18098"/>
                    <a:pt x="0" y="14002"/>
                    <a:pt x="0" y="9049"/>
                  </a:cubicBezTo>
                  <a:cubicBezTo>
                    <a:pt x="0" y="4001"/>
                    <a:pt x="4096" y="0"/>
                    <a:pt x="9049" y="0"/>
                  </a:cubicBezTo>
                  <a:cubicBezTo>
                    <a:pt x="14002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6"/>
                    <a:pt x="9049" y="17336"/>
                  </a:cubicBezTo>
                  <a:cubicBezTo>
                    <a:pt x="4477" y="17336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3" name="Freihandform: Form 912">
              <a:extLst>
                <a:ext uri="{FF2B5EF4-FFF2-40B4-BE49-F238E27FC236}">
                  <a16:creationId xmlns:a16="http://schemas.microsoft.com/office/drawing/2014/main" id="{393AFD9E-2C40-A209-1B66-0DFB4C6A88A3}"/>
                </a:ext>
              </a:extLst>
            </p:cNvPr>
            <p:cNvSpPr/>
            <p:nvPr/>
          </p:nvSpPr>
          <p:spPr>
            <a:xfrm>
              <a:off x="5485496" y="2884156"/>
              <a:ext cx="762" cy="6858"/>
            </a:xfrm>
            <a:custGeom>
              <a:avLst/>
              <a:gdLst>
                <a:gd name="connsiteX0" fmla="*/ 762 w 762"/>
                <a:gd name="connsiteY0" fmla="*/ 6858 h 6858"/>
                <a:gd name="connsiteX1" fmla="*/ 762 w 762"/>
                <a:gd name="connsiteY1" fmla="*/ 0 h 6858"/>
                <a:gd name="connsiteX2" fmla="*/ 0 w 762"/>
                <a:gd name="connsiteY2" fmla="*/ 0 h 6858"/>
                <a:gd name="connsiteX3" fmla="*/ 0 w 762"/>
                <a:gd name="connsiteY3" fmla="*/ 6858 h 6858"/>
                <a:gd name="connsiteX4" fmla="*/ 762 w 762"/>
                <a:gd name="connsiteY4" fmla="*/ 6858 h 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6858">
                  <a:moveTo>
                    <a:pt x="762" y="685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858"/>
                  </a:lnTo>
                  <a:lnTo>
                    <a:pt x="762" y="6858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4" name="Freihandform: Form 913">
              <a:extLst>
                <a:ext uri="{FF2B5EF4-FFF2-40B4-BE49-F238E27FC236}">
                  <a16:creationId xmlns:a16="http://schemas.microsoft.com/office/drawing/2014/main" id="{A136F363-C5F3-B085-30A3-B2B09F69B3A4}"/>
                </a:ext>
              </a:extLst>
            </p:cNvPr>
            <p:cNvSpPr/>
            <p:nvPr/>
          </p:nvSpPr>
          <p:spPr>
            <a:xfrm>
              <a:off x="5477114" y="2882632"/>
              <a:ext cx="7620" cy="2095"/>
            </a:xfrm>
            <a:custGeom>
              <a:avLst/>
              <a:gdLst>
                <a:gd name="connsiteX0" fmla="*/ 191 w 7620"/>
                <a:gd name="connsiteY0" fmla="*/ 2096 h 2095"/>
                <a:gd name="connsiteX1" fmla="*/ 7620 w 7620"/>
                <a:gd name="connsiteY1" fmla="*/ 762 h 2095"/>
                <a:gd name="connsiteX2" fmla="*/ 7429 w 7620"/>
                <a:gd name="connsiteY2" fmla="*/ 0 h 2095"/>
                <a:gd name="connsiteX3" fmla="*/ 0 w 7620"/>
                <a:gd name="connsiteY3" fmla="*/ 1429 h 2095"/>
                <a:gd name="connsiteX4" fmla="*/ 191 w 7620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" h="2095">
                  <a:moveTo>
                    <a:pt x="191" y="2096"/>
                  </a:moveTo>
                  <a:lnTo>
                    <a:pt x="7620" y="762"/>
                  </a:lnTo>
                  <a:lnTo>
                    <a:pt x="7429" y="0"/>
                  </a:lnTo>
                  <a:lnTo>
                    <a:pt x="0" y="1429"/>
                  </a:lnTo>
                  <a:lnTo>
                    <a:pt x="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7" name="Freihandform: Form 916">
              <a:extLst>
                <a:ext uri="{FF2B5EF4-FFF2-40B4-BE49-F238E27FC236}">
                  <a16:creationId xmlns:a16="http://schemas.microsoft.com/office/drawing/2014/main" id="{DC257896-CC83-6B69-A490-FBC775AAD017}"/>
                </a:ext>
              </a:extLst>
            </p:cNvPr>
            <p:cNvSpPr/>
            <p:nvPr/>
          </p:nvSpPr>
          <p:spPr>
            <a:xfrm>
              <a:off x="5479972" y="2875774"/>
              <a:ext cx="5143" cy="5524"/>
            </a:xfrm>
            <a:custGeom>
              <a:avLst/>
              <a:gdLst>
                <a:gd name="connsiteX0" fmla="*/ 0 w 5143"/>
                <a:gd name="connsiteY0" fmla="*/ 571 h 5524"/>
                <a:gd name="connsiteX1" fmla="*/ 4572 w 5143"/>
                <a:gd name="connsiteY1" fmla="*/ 5525 h 5524"/>
                <a:gd name="connsiteX2" fmla="*/ 5144 w 5143"/>
                <a:gd name="connsiteY2" fmla="*/ 5048 h 5524"/>
                <a:gd name="connsiteX3" fmla="*/ 476 w 5143"/>
                <a:gd name="connsiteY3" fmla="*/ 0 h 5524"/>
                <a:gd name="connsiteX4" fmla="*/ 0 w 5143"/>
                <a:gd name="connsiteY4" fmla="*/ 571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524">
                  <a:moveTo>
                    <a:pt x="0" y="571"/>
                  </a:moveTo>
                  <a:lnTo>
                    <a:pt x="4572" y="5525"/>
                  </a:lnTo>
                  <a:lnTo>
                    <a:pt x="5144" y="5048"/>
                  </a:lnTo>
                  <a:lnTo>
                    <a:pt x="476" y="0"/>
                  </a:lnTo>
                  <a:lnTo>
                    <a:pt x="0" y="57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8" name="Freihandform: Form 917">
              <a:extLst>
                <a:ext uri="{FF2B5EF4-FFF2-40B4-BE49-F238E27FC236}">
                  <a16:creationId xmlns:a16="http://schemas.microsoft.com/office/drawing/2014/main" id="{004A9DEC-C4A9-BCC4-817B-8DC19ADE9430}"/>
                </a:ext>
              </a:extLst>
            </p:cNvPr>
            <p:cNvSpPr/>
            <p:nvPr/>
          </p:nvSpPr>
          <p:spPr>
            <a:xfrm>
              <a:off x="5486354" y="2874917"/>
              <a:ext cx="4191" cy="6286"/>
            </a:xfrm>
            <a:custGeom>
              <a:avLst/>
              <a:gdLst>
                <a:gd name="connsiteX0" fmla="*/ 3524 w 4191"/>
                <a:gd name="connsiteY0" fmla="*/ 0 h 6286"/>
                <a:gd name="connsiteX1" fmla="*/ 0 w 4191"/>
                <a:gd name="connsiteY1" fmla="*/ 5810 h 6286"/>
                <a:gd name="connsiteX2" fmla="*/ 667 w 4191"/>
                <a:gd name="connsiteY2" fmla="*/ 6287 h 6286"/>
                <a:gd name="connsiteX3" fmla="*/ 4191 w 4191"/>
                <a:gd name="connsiteY3" fmla="*/ 381 h 6286"/>
                <a:gd name="connsiteX4" fmla="*/ 3524 w 4191"/>
                <a:gd name="connsiteY4" fmla="*/ 0 h 6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286">
                  <a:moveTo>
                    <a:pt x="3524" y="0"/>
                  </a:moveTo>
                  <a:lnTo>
                    <a:pt x="0" y="5810"/>
                  </a:lnTo>
                  <a:lnTo>
                    <a:pt x="667" y="6287"/>
                  </a:lnTo>
                  <a:lnTo>
                    <a:pt x="4191" y="381"/>
                  </a:lnTo>
                  <a:lnTo>
                    <a:pt x="3524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9" name="Freihandform: Form 918">
              <a:extLst>
                <a:ext uri="{FF2B5EF4-FFF2-40B4-BE49-F238E27FC236}">
                  <a16:creationId xmlns:a16="http://schemas.microsoft.com/office/drawing/2014/main" id="{28F400E5-65E4-5AC2-DD1D-A0B516944E6A}"/>
                </a:ext>
              </a:extLst>
            </p:cNvPr>
            <p:cNvSpPr/>
            <p:nvPr/>
          </p:nvSpPr>
          <p:spPr>
            <a:xfrm>
              <a:off x="5487401" y="2882632"/>
              <a:ext cx="6762" cy="2476"/>
            </a:xfrm>
            <a:custGeom>
              <a:avLst/>
              <a:gdLst>
                <a:gd name="connsiteX0" fmla="*/ 6763 w 6762"/>
                <a:gd name="connsiteY0" fmla="*/ 1810 h 2476"/>
                <a:gd name="connsiteX1" fmla="*/ 191 w 6762"/>
                <a:gd name="connsiteY1" fmla="*/ 0 h 2476"/>
                <a:gd name="connsiteX2" fmla="*/ 0 w 6762"/>
                <a:gd name="connsiteY2" fmla="*/ 667 h 2476"/>
                <a:gd name="connsiteX3" fmla="*/ 6572 w 6762"/>
                <a:gd name="connsiteY3" fmla="*/ 2476 h 2476"/>
                <a:gd name="connsiteX4" fmla="*/ 6763 w 6762"/>
                <a:gd name="connsiteY4" fmla="*/ 1810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" h="2476">
                  <a:moveTo>
                    <a:pt x="6763" y="1810"/>
                  </a:moveTo>
                  <a:lnTo>
                    <a:pt x="191" y="0"/>
                  </a:lnTo>
                  <a:lnTo>
                    <a:pt x="0" y="667"/>
                  </a:lnTo>
                  <a:lnTo>
                    <a:pt x="6572" y="2476"/>
                  </a:lnTo>
                  <a:lnTo>
                    <a:pt x="6763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0" name="Freihandform: Form 919">
              <a:extLst>
                <a:ext uri="{FF2B5EF4-FFF2-40B4-BE49-F238E27FC236}">
                  <a16:creationId xmlns:a16="http://schemas.microsoft.com/office/drawing/2014/main" id="{866F9FA4-D671-7F17-AD76-FA57BBEE9456}"/>
                </a:ext>
              </a:extLst>
            </p:cNvPr>
            <p:cNvSpPr/>
            <p:nvPr/>
          </p:nvSpPr>
          <p:spPr>
            <a:xfrm>
              <a:off x="5483782" y="2880346"/>
              <a:ext cx="4190" cy="4191"/>
            </a:xfrm>
            <a:custGeom>
              <a:avLst/>
              <a:gdLst>
                <a:gd name="connsiteX0" fmla="*/ 4191 w 4190"/>
                <a:gd name="connsiteY0" fmla="*/ 2096 h 4191"/>
                <a:gd name="connsiteX1" fmla="*/ 2096 w 4190"/>
                <a:gd name="connsiteY1" fmla="*/ 4191 h 4191"/>
                <a:gd name="connsiteX2" fmla="*/ 0 w 4190"/>
                <a:gd name="connsiteY2" fmla="*/ 2096 h 4191"/>
                <a:gd name="connsiteX3" fmla="*/ 2096 w 4190"/>
                <a:gd name="connsiteY3" fmla="*/ 0 h 4191"/>
                <a:gd name="connsiteX4" fmla="*/ 4191 w 4190"/>
                <a:gd name="connsiteY4" fmla="*/ 2096 h 4191"/>
                <a:gd name="connsiteX5" fmla="*/ 4191 w 4190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0" h="4191">
                  <a:moveTo>
                    <a:pt x="4191" y="2096"/>
                  </a:moveTo>
                  <a:cubicBezTo>
                    <a:pt x="4191" y="3239"/>
                    <a:pt x="3238" y="4191"/>
                    <a:pt x="2096" y="4191"/>
                  </a:cubicBezTo>
                  <a:cubicBezTo>
                    <a:pt x="952" y="4191"/>
                    <a:pt x="0" y="3239"/>
                    <a:pt x="0" y="2096"/>
                  </a:cubicBezTo>
                  <a:cubicBezTo>
                    <a:pt x="0" y="953"/>
                    <a:pt x="952" y="0"/>
                    <a:pt x="2096" y="0"/>
                  </a:cubicBezTo>
                  <a:cubicBezTo>
                    <a:pt x="3334" y="0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1" name="Freihandform: Form 920">
              <a:extLst>
                <a:ext uri="{FF2B5EF4-FFF2-40B4-BE49-F238E27FC236}">
                  <a16:creationId xmlns:a16="http://schemas.microsoft.com/office/drawing/2014/main" id="{40471753-D991-44D2-5ABF-0318C5FA2629}"/>
                </a:ext>
              </a:extLst>
            </p:cNvPr>
            <p:cNvSpPr/>
            <p:nvPr/>
          </p:nvSpPr>
          <p:spPr>
            <a:xfrm>
              <a:off x="5445206" y="2898729"/>
              <a:ext cx="11620" cy="11620"/>
            </a:xfrm>
            <a:custGeom>
              <a:avLst/>
              <a:gdLst>
                <a:gd name="connsiteX0" fmla="*/ 11621 w 11620"/>
                <a:gd name="connsiteY0" fmla="*/ 5810 h 11620"/>
                <a:gd name="connsiteX1" fmla="*/ 5810 w 11620"/>
                <a:gd name="connsiteY1" fmla="*/ 11621 h 11620"/>
                <a:gd name="connsiteX2" fmla="*/ 0 w 11620"/>
                <a:gd name="connsiteY2" fmla="*/ 5810 h 11620"/>
                <a:gd name="connsiteX3" fmla="*/ 5810 w 11620"/>
                <a:gd name="connsiteY3" fmla="*/ 0 h 11620"/>
                <a:gd name="connsiteX4" fmla="*/ 11621 w 11620"/>
                <a:gd name="connsiteY4" fmla="*/ 5810 h 11620"/>
                <a:gd name="connsiteX5" fmla="*/ 11621 w 11620"/>
                <a:gd name="connsiteY5" fmla="*/ 5810 h 11620"/>
                <a:gd name="connsiteX6" fmla="*/ 11049 w 11620"/>
                <a:gd name="connsiteY6" fmla="*/ 5810 h 11620"/>
                <a:gd name="connsiteX7" fmla="*/ 5810 w 11620"/>
                <a:gd name="connsiteY7" fmla="*/ 11049 h 11620"/>
                <a:gd name="connsiteX8" fmla="*/ 571 w 11620"/>
                <a:gd name="connsiteY8" fmla="*/ 5810 h 11620"/>
                <a:gd name="connsiteX9" fmla="*/ 5810 w 11620"/>
                <a:gd name="connsiteY9" fmla="*/ 571 h 11620"/>
                <a:gd name="connsiteX10" fmla="*/ 11049 w 11620"/>
                <a:gd name="connsiteY10" fmla="*/ 5810 h 11620"/>
                <a:gd name="connsiteX11" fmla="*/ 11049 w 11620"/>
                <a:gd name="connsiteY11" fmla="*/ 581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" h="11620">
                  <a:moveTo>
                    <a:pt x="11621" y="5810"/>
                  </a:moveTo>
                  <a:cubicBezTo>
                    <a:pt x="11621" y="8954"/>
                    <a:pt x="9049" y="11621"/>
                    <a:pt x="5810" y="11621"/>
                  </a:cubicBezTo>
                  <a:cubicBezTo>
                    <a:pt x="2572" y="11621"/>
                    <a:pt x="0" y="9049"/>
                    <a:pt x="0" y="5810"/>
                  </a:cubicBezTo>
                  <a:cubicBezTo>
                    <a:pt x="0" y="2667"/>
                    <a:pt x="2572" y="0"/>
                    <a:pt x="5810" y="0"/>
                  </a:cubicBezTo>
                  <a:cubicBezTo>
                    <a:pt x="8954" y="0"/>
                    <a:pt x="11621" y="2572"/>
                    <a:pt x="11621" y="5810"/>
                  </a:cubicBezTo>
                  <a:lnTo>
                    <a:pt x="11621" y="5810"/>
                  </a:lnTo>
                  <a:close/>
                  <a:moveTo>
                    <a:pt x="11049" y="5810"/>
                  </a:moveTo>
                  <a:cubicBezTo>
                    <a:pt x="11049" y="8668"/>
                    <a:pt x="8668" y="11049"/>
                    <a:pt x="5810" y="11049"/>
                  </a:cubicBezTo>
                  <a:cubicBezTo>
                    <a:pt x="2858" y="11049"/>
                    <a:pt x="571" y="8668"/>
                    <a:pt x="571" y="5810"/>
                  </a:cubicBezTo>
                  <a:cubicBezTo>
                    <a:pt x="571" y="2953"/>
                    <a:pt x="2953" y="571"/>
                    <a:pt x="5810" y="571"/>
                  </a:cubicBezTo>
                  <a:cubicBezTo>
                    <a:pt x="8763" y="476"/>
                    <a:pt x="11049" y="2858"/>
                    <a:pt x="11049" y="5810"/>
                  </a:cubicBezTo>
                  <a:lnTo>
                    <a:pt x="11049" y="5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2" name="Freihandform: Form 921">
              <a:extLst>
                <a:ext uri="{FF2B5EF4-FFF2-40B4-BE49-F238E27FC236}">
                  <a16:creationId xmlns:a16="http://schemas.microsoft.com/office/drawing/2014/main" id="{E5D87B9F-B95A-F812-205B-EEF7C4738FC4}"/>
                </a:ext>
              </a:extLst>
            </p:cNvPr>
            <p:cNvSpPr/>
            <p:nvPr/>
          </p:nvSpPr>
          <p:spPr>
            <a:xfrm>
              <a:off x="5450825" y="2905492"/>
              <a:ext cx="476" cy="4381"/>
            </a:xfrm>
            <a:custGeom>
              <a:avLst/>
              <a:gdLst>
                <a:gd name="connsiteX0" fmla="*/ 476 w 476"/>
                <a:gd name="connsiteY0" fmla="*/ 4382 h 4381"/>
                <a:gd name="connsiteX1" fmla="*/ 476 w 476"/>
                <a:gd name="connsiteY1" fmla="*/ 0 h 4381"/>
                <a:gd name="connsiteX2" fmla="*/ 0 w 476"/>
                <a:gd name="connsiteY2" fmla="*/ 0 h 4381"/>
                <a:gd name="connsiteX3" fmla="*/ 0 w 476"/>
                <a:gd name="connsiteY3" fmla="*/ 4382 h 4381"/>
                <a:gd name="connsiteX4" fmla="*/ 476 w 476"/>
                <a:gd name="connsiteY4" fmla="*/ 4382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" h="4381">
                  <a:moveTo>
                    <a:pt x="476" y="4382"/>
                  </a:moveTo>
                  <a:lnTo>
                    <a:pt x="476" y="0"/>
                  </a:lnTo>
                  <a:lnTo>
                    <a:pt x="0" y="0"/>
                  </a:lnTo>
                  <a:lnTo>
                    <a:pt x="0" y="4382"/>
                  </a:lnTo>
                  <a:lnTo>
                    <a:pt x="476" y="4382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3" name="Freihandform: Form 922">
              <a:extLst>
                <a:ext uri="{FF2B5EF4-FFF2-40B4-BE49-F238E27FC236}">
                  <a16:creationId xmlns:a16="http://schemas.microsoft.com/office/drawing/2014/main" id="{53971FFD-4CF7-4C2E-3B99-A970EC0F1542}"/>
                </a:ext>
              </a:extLst>
            </p:cNvPr>
            <p:cNvSpPr/>
            <p:nvPr/>
          </p:nvSpPr>
          <p:spPr>
            <a:xfrm>
              <a:off x="5445587" y="2904539"/>
              <a:ext cx="4762" cy="1333"/>
            </a:xfrm>
            <a:custGeom>
              <a:avLst/>
              <a:gdLst>
                <a:gd name="connsiteX0" fmla="*/ 0 w 4762"/>
                <a:gd name="connsiteY0" fmla="*/ 1333 h 1333"/>
                <a:gd name="connsiteX1" fmla="*/ 4763 w 4762"/>
                <a:gd name="connsiteY1" fmla="*/ 476 h 1333"/>
                <a:gd name="connsiteX2" fmla="*/ 4667 w 4762"/>
                <a:gd name="connsiteY2" fmla="*/ 0 h 1333"/>
                <a:gd name="connsiteX3" fmla="*/ 0 w 4762"/>
                <a:gd name="connsiteY3" fmla="*/ 857 h 1333"/>
                <a:gd name="connsiteX4" fmla="*/ 0 w 4762"/>
                <a:gd name="connsiteY4" fmla="*/ 1333 h 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" h="1333">
                  <a:moveTo>
                    <a:pt x="0" y="1333"/>
                  </a:moveTo>
                  <a:lnTo>
                    <a:pt x="4763" y="476"/>
                  </a:lnTo>
                  <a:lnTo>
                    <a:pt x="4667" y="0"/>
                  </a:lnTo>
                  <a:lnTo>
                    <a:pt x="0" y="857"/>
                  </a:lnTo>
                  <a:lnTo>
                    <a:pt x="0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4" name="Freihandform: Form 923">
              <a:extLst>
                <a:ext uri="{FF2B5EF4-FFF2-40B4-BE49-F238E27FC236}">
                  <a16:creationId xmlns:a16="http://schemas.microsoft.com/office/drawing/2014/main" id="{E3913E05-665C-FB6A-FA51-526002405732}"/>
                </a:ext>
              </a:extLst>
            </p:cNvPr>
            <p:cNvSpPr/>
            <p:nvPr/>
          </p:nvSpPr>
          <p:spPr>
            <a:xfrm>
              <a:off x="5447301" y="2900158"/>
              <a:ext cx="3333" cy="3524"/>
            </a:xfrm>
            <a:custGeom>
              <a:avLst/>
              <a:gdLst>
                <a:gd name="connsiteX0" fmla="*/ 0 w 3333"/>
                <a:gd name="connsiteY0" fmla="*/ 381 h 3524"/>
                <a:gd name="connsiteX1" fmla="*/ 2953 w 3333"/>
                <a:gd name="connsiteY1" fmla="*/ 3524 h 3524"/>
                <a:gd name="connsiteX2" fmla="*/ 3334 w 3333"/>
                <a:gd name="connsiteY2" fmla="*/ 3239 h 3524"/>
                <a:gd name="connsiteX3" fmla="*/ 381 w 3333"/>
                <a:gd name="connsiteY3" fmla="*/ 0 h 3524"/>
                <a:gd name="connsiteX4" fmla="*/ 0 w 3333"/>
                <a:gd name="connsiteY4" fmla="*/ 381 h 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524">
                  <a:moveTo>
                    <a:pt x="0" y="381"/>
                  </a:moveTo>
                  <a:lnTo>
                    <a:pt x="2953" y="3524"/>
                  </a:lnTo>
                  <a:lnTo>
                    <a:pt x="3334" y="3239"/>
                  </a:lnTo>
                  <a:lnTo>
                    <a:pt x="381" y="0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5" name="Freihandform: Form 924">
              <a:extLst>
                <a:ext uri="{FF2B5EF4-FFF2-40B4-BE49-F238E27FC236}">
                  <a16:creationId xmlns:a16="http://schemas.microsoft.com/office/drawing/2014/main" id="{6C392709-84E3-D414-6ABB-A06EC3C41EB1}"/>
                </a:ext>
              </a:extLst>
            </p:cNvPr>
            <p:cNvSpPr/>
            <p:nvPr/>
          </p:nvSpPr>
          <p:spPr>
            <a:xfrm>
              <a:off x="5451397" y="2899681"/>
              <a:ext cx="2666" cy="3905"/>
            </a:xfrm>
            <a:custGeom>
              <a:avLst/>
              <a:gdLst>
                <a:gd name="connsiteX0" fmla="*/ 2286 w 2666"/>
                <a:gd name="connsiteY0" fmla="*/ 0 h 3905"/>
                <a:gd name="connsiteX1" fmla="*/ 0 w 2666"/>
                <a:gd name="connsiteY1" fmla="*/ 3715 h 3905"/>
                <a:gd name="connsiteX2" fmla="*/ 381 w 2666"/>
                <a:gd name="connsiteY2" fmla="*/ 3905 h 3905"/>
                <a:gd name="connsiteX3" fmla="*/ 2667 w 2666"/>
                <a:gd name="connsiteY3" fmla="*/ 191 h 3905"/>
                <a:gd name="connsiteX4" fmla="*/ 2286 w 2666"/>
                <a:gd name="connsiteY4" fmla="*/ 0 h 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3905">
                  <a:moveTo>
                    <a:pt x="2286" y="0"/>
                  </a:moveTo>
                  <a:lnTo>
                    <a:pt x="0" y="3715"/>
                  </a:lnTo>
                  <a:lnTo>
                    <a:pt x="381" y="3905"/>
                  </a:lnTo>
                  <a:lnTo>
                    <a:pt x="2667" y="191"/>
                  </a:lnTo>
                  <a:lnTo>
                    <a:pt x="2286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6" name="Freihandform: Form 925">
              <a:extLst>
                <a:ext uri="{FF2B5EF4-FFF2-40B4-BE49-F238E27FC236}">
                  <a16:creationId xmlns:a16="http://schemas.microsoft.com/office/drawing/2014/main" id="{DC59C98B-A593-A712-CD0F-8508EBA6BDFE}"/>
                </a:ext>
              </a:extLst>
            </p:cNvPr>
            <p:cNvSpPr/>
            <p:nvPr/>
          </p:nvSpPr>
          <p:spPr>
            <a:xfrm>
              <a:off x="5452064" y="2904539"/>
              <a:ext cx="4286" cy="1619"/>
            </a:xfrm>
            <a:custGeom>
              <a:avLst/>
              <a:gdLst>
                <a:gd name="connsiteX0" fmla="*/ 4286 w 4286"/>
                <a:gd name="connsiteY0" fmla="*/ 1143 h 1619"/>
                <a:gd name="connsiteX1" fmla="*/ 95 w 4286"/>
                <a:gd name="connsiteY1" fmla="*/ 0 h 1619"/>
                <a:gd name="connsiteX2" fmla="*/ 0 w 4286"/>
                <a:gd name="connsiteY2" fmla="*/ 381 h 1619"/>
                <a:gd name="connsiteX3" fmla="*/ 4191 w 4286"/>
                <a:gd name="connsiteY3" fmla="*/ 1619 h 1619"/>
                <a:gd name="connsiteX4" fmla="*/ 4286 w 4286"/>
                <a:gd name="connsiteY4" fmla="*/ 1143 h 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" h="1619">
                  <a:moveTo>
                    <a:pt x="4286" y="1143"/>
                  </a:moveTo>
                  <a:lnTo>
                    <a:pt x="95" y="0"/>
                  </a:lnTo>
                  <a:lnTo>
                    <a:pt x="0" y="381"/>
                  </a:lnTo>
                  <a:lnTo>
                    <a:pt x="4191" y="1619"/>
                  </a:lnTo>
                  <a:lnTo>
                    <a:pt x="4286" y="1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7" name="Freihandform: Form 926">
              <a:extLst>
                <a:ext uri="{FF2B5EF4-FFF2-40B4-BE49-F238E27FC236}">
                  <a16:creationId xmlns:a16="http://schemas.microsoft.com/office/drawing/2014/main" id="{3AFA1917-C764-DCC7-B75B-12874EAAE510}"/>
                </a:ext>
              </a:extLst>
            </p:cNvPr>
            <p:cNvSpPr/>
            <p:nvPr/>
          </p:nvSpPr>
          <p:spPr>
            <a:xfrm>
              <a:off x="5449778" y="2903015"/>
              <a:ext cx="2666" cy="2666"/>
            </a:xfrm>
            <a:custGeom>
              <a:avLst/>
              <a:gdLst>
                <a:gd name="connsiteX0" fmla="*/ 2667 w 2666"/>
                <a:gd name="connsiteY0" fmla="*/ 1333 h 2666"/>
                <a:gd name="connsiteX1" fmla="*/ 1333 w 2666"/>
                <a:gd name="connsiteY1" fmla="*/ 2667 h 2666"/>
                <a:gd name="connsiteX2" fmla="*/ 0 w 2666"/>
                <a:gd name="connsiteY2" fmla="*/ 1333 h 2666"/>
                <a:gd name="connsiteX3" fmla="*/ 1333 w 2666"/>
                <a:gd name="connsiteY3" fmla="*/ 0 h 2666"/>
                <a:gd name="connsiteX4" fmla="*/ 2667 w 2666"/>
                <a:gd name="connsiteY4" fmla="*/ 1333 h 2666"/>
                <a:gd name="connsiteX5" fmla="*/ 2667 w 2666"/>
                <a:gd name="connsiteY5" fmla="*/ 133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" h="2666">
                  <a:moveTo>
                    <a:pt x="2667" y="1333"/>
                  </a:moveTo>
                  <a:cubicBezTo>
                    <a:pt x="2667" y="2096"/>
                    <a:pt x="2096" y="2667"/>
                    <a:pt x="1333" y="2667"/>
                  </a:cubicBezTo>
                  <a:cubicBezTo>
                    <a:pt x="667" y="2667"/>
                    <a:pt x="0" y="2096"/>
                    <a:pt x="0" y="1333"/>
                  </a:cubicBezTo>
                  <a:cubicBezTo>
                    <a:pt x="0" y="571"/>
                    <a:pt x="571" y="0"/>
                    <a:pt x="1333" y="0"/>
                  </a:cubicBezTo>
                  <a:cubicBezTo>
                    <a:pt x="2096" y="95"/>
                    <a:pt x="2667" y="667"/>
                    <a:pt x="2667" y="1333"/>
                  </a:cubicBezTo>
                  <a:lnTo>
                    <a:pt x="2667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8" name="Freihandform: Form 927">
              <a:extLst>
                <a:ext uri="{FF2B5EF4-FFF2-40B4-BE49-F238E27FC236}">
                  <a16:creationId xmlns:a16="http://schemas.microsoft.com/office/drawing/2014/main" id="{98995B92-066E-3ECF-62B4-1786A1156801}"/>
                </a:ext>
              </a:extLst>
            </p:cNvPr>
            <p:cNvSpPr/>
            <p:nvPr/>
          </p:nvSpPr>
          <p:spPr>
            <a:xfrm>
              <a:off x="5498355" y="2898443"/>
              <a:ext cx="11620" cy="11620"/>
            </a:xfrm>
            <a:custGeom>
              <a:avLst/>
              <a:gdLst>
                <a:gd name="connsiteX0" fmla="*/ 11621 w 11620"/>
                <a:gd name="connsiteY0" fmla="*/ 5810 h 11620"/>
                <a:gd name="connsiteX1" fmla="*/ 5810 w 11620"/>
                <a:gd name="connsiteY1" fmla="*/ 11621 h 11620"/>
                <a:gd name="connsiteX2" fmla="*/ 0 w 11620"/>
                <a:gd name="connsiteY2" fmla="*/ 5810 h 11620"/>
                <a:gd name="connsiteX3" fmla="*/ 5810 w 11620"/>
                <a:gd name="connsiteY3" fmla="*/ 0 h 11620"/>
                <a:gd name="connsiteX4" fmla="*/ 11621 w 11620"/>
                <a:gd name="connsiteY4" fmla="*/ 5810 h 11620"/>
                <a:gd name="connsiteX5" fmla="*/ 11621 w 11620"/>
                <a:gd name="connsiteY5" fmla="*/ 5810 h 11620"/>
                <a:gd name="connsiteX6" fmla="*/ 11144 w 11620"/>
                <a:gd name="connsiteY6" fmla="*/ 5810 h 11620"/>
                <a:gd name="connsiteX7" fmla="*/ 5905 w 11620"/>
                <a:gd name="connsiteY7" fmla="*/ 11049 h 11620"/>
                <a:gd name="connsiteX8" fmla="*/ 667 w 11620"/>
                <a:gd name="connsiteY8" fmla="*/ 5810 h 11620"/>
                <a:gd name="connsiteX9" fmla="*/ 5905 w 11620"/>
                <a:gd name="connsiteY9" fmla="*/ 571 h 11620"/>
                <a:gd name="connsiteX10" fmla="*/ 11144 w 11620"/>
                <a:gd name="connsiteY10" fmla="*/ 5810 h 11620"/>
                <a:gd name="connsiteX11" fmla="*/ 11144 w 11620"/>
                <a:gd name="connsiteY11" fmla="*/ 581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" h="11620">
                  <a:moveTo>
                    <a:pt x="11621" y="5810"/>
                  </a:moveTo>
                  <a:cubicBezTo>
                    <a:pt x="11621" y="8954"/>
                    <a:pt x="9049" y="11621"/>
                    <a:pt x="5810" y="11621"/>
                  </a:cubicBezTo>
                  <a:cubicBezTo>
                    <a:pt x="2572" y="11621"/>
                    <a:pt x="0" y="9049"/>
                    <a:pt x="0" y="5810"/>
                  </a:cubicBezTo>
                  <a:cubicBezTo>
                    <a:pt x="0" y="2572"/>
                    <a:pt x="2572" y="0"/>
                    <a:pt x="5810" y="0"/>
                  </a:cubicBezTo>
                  <a:cubicBezTo>
                    <a:pt x="9049" y="0"/>
                    <a:pt x="11621" y="2667"/>
                    <a:pt x="11621" y="5810"/>
                  </a:cubicBezTo>
                  <a:lnTo>
                    <a:pt x="11621" y="5810"/>
                  </a:lnTo>
                  <a:close/>
                  <a:moveTo>
                    <a:pt x="11144" y="5810"/>
                  </a:moveTo>
                  <a:cubicBezTo>
                    <a:pt x="11144" y="8668"/>
                    <a:pt x="8763" y="11049"/>
                    <a:pt x="5905" y="11049"/>
                  </a:cubicBezTo>
                  <a:cubicBezTo>
                    <a:pt x="2953" y="11049"/>
                    <a:pt x="667" y="8668"/>
                    <a:pt x="667" y="5810"/>
                  </a:cubicBezTo>
                  <a:cubicBezTo>
                    <a:pt x="667" y="2858"/>
                    <a:pt x="3048" y="571"/>
                    <a:pt x="5905" y="571"/>
                  </a:cubicBezTo>
                  <a:cubicBezTo>
                    <a:pt x="8763" y="571"/>
                    <a:pt x="11144" y="2953"/>
                    <a:pt x="11144" y="5810"/>
                  </a:cubicBezTo>
                  <a:lnTo>
                    <a:pt x="11144" y="5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9" name="Freihandform: Form 928">
              <a:extLst>
                <a:ext uri="{FF2B5EF4-FFF2-40B4-BE49-F238E27FC236}">
                  <a16:creationId xmlns:a16="http://schemas.microsoft.com/office/drawing/2014/main" id="{7EC84F5E-B469-D2B6-0C1E-DB9AEE20077D}"/>
                </a:ext>
              </a:extLst>
            </p:cNvPr>
            <p:cNvSpPr/>
            <p:nvPr/>
          </p:nvSpPr>
          <p:spPr>
            <a:xfrm>
              <a:off x="5503975" y="2905301"/>
              <a:ext cx="476" cy="4286"/>
            </a:xfrm>
            <a:custGeom>
              <a:avLst/>
              <a:gdLst>
                <a:gd name="connsiteX0" fmla="*/ 476 w 476"/>
                <a:gd name="connsiteY0" fmla="*/ 4286 h 4286"/>
                <a:gd name="connsiteX1" fmla="*/ 476 w 476"/>
                <a:gd name="connsiteY1" fmla="*/ 0 h 4286"/>
                <a:gd name="connsiteX2" fmla="*/ 0 w 476"/>
                <a:gd name="connsiteY2" fmla="*/ 0 h 4286"/>
                <a:gd name="connsiteX3" fmla="*/ 0 w 476"/>
                <a:gd name="connsiteY3" fmla="*/ 4286 h 4286"/>
                <a:gd name="connsiteX4" fmla="*/ 476 w 476"/>
                <a:gd name="connsiteY4" fmla="*/ 4286 h 4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" h="4286">
                  <a:moveTo>
                    <a:pt x="476" y="4286"/>
                  </a:moveTo>
                  <a:lnTo>
                    <a:pt x="476" y="0"/>
                  </a:lnTo>
                  <a:lnTo>
                    <a:pt x="0" y="0"/>
                  </a:lnTo>
                  <a:lnTo>
                    <a:pt x="0" y="4286"/>
                  </a:lnTo>
                  <a:lnTo>
                    <a:pt x="476" y="428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0" name="Freihandform: Form 929">
              <a:extLst>
                <a:ext uri="{FF2B5EF4-FFF2-40B4-BE49-F238E27FC236}">
                  <a16:creationId xmlns:a16="http://schemas.microsoft.com/office/drawing/2014/main" id="{5D42ACF9-D9AD-D370-F3C0-A4EDB831B361}"/>
                </a:ext>
              </a:extLst>
            </p:cNvPr>
            <p:cNvSpPr/>
            <p:nvPr/>
          </p:nvSpPr>
          <p:spPr>
            <a:xfrm>
              <a:off x="5498736" y="2904254"/>
              <a:ext cx="4762" cy="1428"/>
            </a:xfrm>
            <a:custGeom>
              <a:avLst/>
              <a:gdLst>
                <a:gd name="connsiteX0" fmla="*/ 95 w 4762"/>
                <a:gd name="connsiteY0" fmla="*/ 1429 h 1428"/>
                <a:gd name="connsiteX1" fmla="*/ 4763 w 4762"/>
                <a:gd name="connsiteY1" fmla="*/ 476 h 1428"/>
                <a:gd name="connsiteX2" fmla="*/ 4667 w 4762"/>
                <a:gd name="connsiteY2" fmla="*/ 0 h 1428"/>
                <a:gd name="connsiteX3" fmla="*/ 0 w 4762"/>
                <a:gd name="connsiteY3" fmla="*/ 952 h 1428"/>
                <a:gd name="connsiteX4" fmla="*/ 95 w 4762"/>
                <a:gd name="connsiteY4" fmla="*/ 1429 h 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" h="1428">
                  <a:moveTo>
                    <a:pt x="95" y="1429"/>
                  </a:moveTo>
                  <a:lnTo>
                    <a:pt x="4763" y="476"/>
                  </a:lnTo>
                  <a:lnTo>
                    <a:pt x="4667" y="0"/>
                  </a:lnTo>
                  <a:lnTo>
                    <a:pt x="0" y="952"/>
                  </a:lnTo>
                  <a:lnTo>
                    <a:pt x="95" y="142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1" name="Freihandform: Form 930">
              <a:extLst>
                <a:ext uri="{FF2B5EF4-FFF2-40B4-BE49-F238E27FC236}">
                  <a16:creationId xmlns:a16="http://schemas.microsoft.com/office/drawing/2014/main" id="{AD99A6C5-6BC9-822F-FD80-7D96F8572862}"/>
                </a:ext>
              </a:extLst>
            </p:cNvPr>
            <p:cNvSpPr/>
            <p:nvPr/>
          </p:nvSpPr>
          <p:spPr>
            <a:xfrm>
              <a:off x="5500451" y="2899967"/>
              <a:ext cx="3333" cy="3524"/>
            </a:xfrm>
            <a:custGeom>
              <a:avLst/>
              <a:gdLst>
                <a:gd name="connsiteX0" fmla="*/ 0 w 3333"/>
                <a:gd name="connsiteY0" fmla="*/ 286 h 3524"/>
                <a:gd name="connsiteX1" fmla="*/ 2953 w 3333"/>
                <a:gd name="connsiteY1" fmla="*/ 3524 h 3524"/>
                <a:gd name="connsiteX2" fmla="*/ 3334 w 3333"/>
                <a:gd name="connsiteY2" fmla="*/ 3143 h 3524"/>
                <a:gd name="connsiteX3" fmla="*/ 381 w 3333"/>
                <a:gd name="connsiteY3" fmla="*/ 0 h 3524"/>
                <a:gd name="connsiteX4" fmla="*/ 0 w 3333"/>
                <a:gd name="connsiteY4" fmla="*/ 286 h 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524">
                  <a:moveTo>
                    <a:pt x="0" y="286"/>
                  </a:moveTo>
                  <a:lnTo>
                    <a:pt x="2953" y="3524"/>
                  </a:lnTo>
                  <a:lnTo>
                    <a:pt x="3334" y="3143"/>
                  </a:lnTo>
                  <a:lnTo>
                    <a:pt x="381" y="0"/>
                  </a:lnTo>
                  <a:lnTo>
                    <a:pt x="0" y="28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2" name="Freihandform: Form 931">
              <a:extLst>
                <a:ext uri="{FF2B5EF4-FFF2-40B4-BE49-F238E27FC236}">
                  <a16:creationId xmlns:a16="http://schemas.microsoft.com/office/drawing/2014/main" id="{A361F507-DBE5-9449-4488-4EBF25AB366F}"/>
                </a:ext>
              </a:extLst>
            </p:cNvPr>
            <p:cNvSpPr/>
            <p:nvPr/>
          </p:nvSpPr>
          <p:spPr>
            <a:xfrm>
              <a:off x="5504546" y="2899396"/>
              <a:ext cx="2666" cy="4000"/>
            </a:xfrm>
            <a:custGeom>
              <a:avLst/>
              <a:gdLst>
                <a:gd name="connsiteX0" fmla="*/ 2286 w 2666"/>
                <a:gd name="connsiteY0" fmla="*/ 0 h 4000"/>
                <a:gd name="connsiteX1" fmla="*/ 0 w 2666"/>
                <a:gd name="connsiteY1" fmla="*/ 3715 h 4000"/>
                <a:gd name="connsiteX2" fmla="*/ 476 w 2666"/>
                <a:gd name="connsiteY2" fmla="*/ 4001 h 4000"/>
                <a:gd name="connsiteX3" fmla="*/ 2667 w 2666"/>
                <a:gd name="connsiteY3" fmla="*/ 286 h 4000"/>
                <a:gd name="connsiteX4" fmla="*/ 2286 w 2666"/>
                <a:gd name="connsiteY4" fmla="*/ 0 h 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4000">
                  <a:moveTo>
                    <a:pt x="2286" y="0"/>
                  </a:moveTo>
                  <a:lnTo>
                    <a:pt x="0" y="3715"/>
                  </a:lnTo>
                  <a:lnTo>
                    <a:pt x="476" y="4001"/>
                  </a:lnTo>
                  <a:lnTo>
                    <a:pt x="2667" y="286"/>
                  </a:lnTo>
                  <a:lnTo>
                    <a:pt x="2286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3" name="Freihandform: Form 932">
              <a:extLst>
                <a:ext uri="{FF2B5EF4-FFF2-40B4-BE49-F238E27FC236}">
                  <a16:creationId xmlns:a16="http://schemas.microsoft.com/office/drawing/2014/main" id="{ACF091B7-13D9-F1E6-7C70-BCDC2D2C3EE5}"/>
                </a:ext>
              </a:extLst>
            </p:cNvPr>
            <p:cNvSpPr/>
            <p:nvPr/>
          </p:nvSpPr>
          <p:spPr>
            <a:xfrm>
              <a:off x="5505213" y="2904254"/>
              <a:ext cx="4381" cy="1619"/>
            </a:xfrm>
            <a:custGeom>
              <a:avLst/>
              <a:gdLst>
                <a:gd name="connsiteX0" fmla="*/ 4381 w 4381"/>
                <a:gd name="connsiteY0" fmla="*/ 1143 h 1619"/>
                <a:gd name="connsiteX1" fmla="*/ 190 w 4381"/>
                <a:gd name="connsiteY1" fmla="*/ 0 h 1619"/>
                <a:gd name="connsiteX2" fmla="*/ 0 w 4381"/>
                <a:gd name="connsiteY2" fmla="*/ 476 h 1619"/>
                <a:gd name="connsiteX3" fmla="*/ 4191 w 4381"/>
                <a:gd name="connsiteY3" fmla="*/ 1619 h 1619"/>
                <a:gd name="connsiteX4" fmla="*/ 4381 w 4381"/>
                <a:gd name="connsiteY4" fmla="*/ 1143 h 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1" h="1619">
                  <a:moveTo>
                    <a:pt x="4381" y="1143"/>
                  </a:moveTo>
                  <a:lnTo>
                    <a:pt x="190" y="0"/>
                  </a:lnTo>
                  <a:lnTo>
                    <a:pt x="0" y="476"/>
                  </a:lnTo>
                  <a:lnTo>
                    <a:pt x="4191" y="1619"/>
                  </a:lnTo>
                  <a:lnTo>
                    <a:pt x="4381" y="1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4" name="Freihandform: Form 933">
              <a:extLst>
                <a:ext uri="{FF2B5EF4-FFF2-40B4-BE49-F238E27FC236}">
                  <a16:creationId xmlns:a16="http://schemas.microsoft.com/office/drawing/2014/main" id="{9401C6B7-2FE1-0C3F-867F-5CD385C102BF}"/>
                </a:ext>
              </a:extLst>
            </p:cNvPr>
            <p:cNvSpPr/>
            <p:nvPr/>
          </p:nvSpPr>
          <p:spPr>
            <a:xfrm>
              <a:off x="5502927" y="2902825"/>
              <a:ext cx="2666" cy="2666"/>
            </a:xfrm>
            <a:custGeom>
              <a:avLst/>
              <a:gdLst>
                <a:gd name="connsiteX0" fmla="*/ 2667 w 2666"/>
                <a:gd name="connsiteY0" fmla="*/ 1333 h 2666"/>
                <a:gd name="connsiteX1" fmla="*/ 1333 w 2666"/>
                <a:gd name="connsiteY1" fmla="*/ 2667 h 2666"/>
                <a:gd name="connsiteX2" fmla="*/ 0 w 2666"/>
                <a:gd name="connsiteY2" fmla="*/ 1333 h 2666"/>
                <a:gd name="connsiteX3" fmla="*/ 1333 w 2666"/>
                <a:gd name="connsiteY3" fmla="*/ 0 h 2666"/>
                <a:gd name="connsiteX4" fmla="*/ 2667 w 2666"/>
                <a:gd name="connsiteY4" fmla="*/ 1333 h 2666"/>
                <a:gd name="connsiteX5" fmla="*/ 2667 w 2666"/>
                <a:gd name="connsiteY5" fmla="*/ 133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" h="2666">
                  <a:moveTo>
                    <a:pt x="2667" y="1333"/>
                  </a:moveTo>
                  <a:cubicBezTo>
                    <a:pt x="2667" y="2096"/>
                    <a:pt x="2096" y="2667"/>
                    <a:pt x="1333" y="2667"/>
                  </a:cubicBezTo>
                  <a:cubicBezTo>
                    <a:pt x="571" y="2667"/>
                    <a:pt x="0" y="2096"/>
                    <a:pt x="0" y="1333"/>
                  </a:cubicBezTo>
                  <a:cubicBezTo>
                    <a:pt x="0" y="572"/>
                    <a:pt x="571" y="0"/>
                    <a:pt x="1333" y="0"/>
                  </a:cubicBezTo>
                  <a:cubicBezTo>
                    <a:pt x="2096" y="0"/>
                    <a:pt x="2667" y="572"/>
                    <a:pt x="2667" y="1333"/>
                  </a:cubicBezTo>
                  <a:lnTo>
                    <a:pt x="2667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5" name="Freihandform: Form 934">
              <a:extLst>
                <a:ext uri="{FF2B5EF4-FFF2-40B4-BE49-F238E27FC236}">
                  <a16:creationId xmlns:a16="http://schemas.microsoft.com/office/drawing/2014/main" id="{218EA2D9-2761-8231-E1E2-B2751B70C383}"/>
                </a:ext>
              </a:extLst>
            </p:cNvPr>
            <p:cNvSpPr/>
            <p:nvPr/>
          </p:nvSpPr>
          <p:spPr>
            <a:xfrm>
              <a:off x="5473114" y="2900729"/>
              <a:ext cx="8191" cy="8191"/>
            </a:xfrm>
            <a:custGeom>
              <a:avLst/>
              <a:gdLst>
                <a:gd name="connsiteX0" fmla="*/ 8192 w 8191"/>
                <a:gd name="connsiteY0" fmla="*/ 4096 h 8191"/>
                <a:gd name="connsiteX1" fmla="*/ 4096 w 8191"/>
                <a:gd name="connsiteY1" fmla="*/ 8192 h 8191"/>
                <a:gd name="connsiteX2" fmla="*/ 0 w 8191"/>
                <a:gd name="connsiteY2" fmla="*/ 4096 h 8191"/>
                <a:gd name="connsiteX3" fmla="*/ 4096 w 8191"/>
                <a:gd name="connsiteY3" fmla="*/ 0 h 8191"/>
                <a:gd name="connsiteX4" fmla="*/ 8192 w 8191"/>
                <a:gd name="connsiteY4" fmla="*/ 4096 h 8191"/>
                <a:gd name="connsiteX5" fmla="*/ 8192 w 8191"/>
                <a:gd name="connsiteY5" fmla="*/ 4096 h 8191"/>
                <a:gd name="connsiteX6" fmla="*/ 7811 w 8191"/>
                <a:gd name="connsiteY6" fmla="*/ 4096 h 8191"/>
                <a:gd name="connsiteX7" fmla="*/ 4096 w 8191"/>
                <a:gd name="connsiteY7" fmla="*/ 7811 h 8191"/>
                <a:gd name="connsiteX8" fmla="*/ 381 w 8191"/>
                <a:gd name="connsiteY8" fmla="*/ 4096 h 8191"/>
                <a:gd name="connsiteX9" fmla="*/ 4096 w 8191"/>
                <a:gd name="connsiteY9" fmla="*/ 381 h 8191"/>
                <a:gd name="connsiteX10" fmla="*/ 7811 w 8191"/>
                <a:gd name="connsiteY10" fmla="*/ 4096 h 8191"/>
                <a:gd name="connsiteX11" fmla="*/ 7811 w 8191"/>
                <a:gd name="connsiteY11" fmla="*/ 4096 h 8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91" h="8191">
                  <a:moveTo>
                    <a:pt x="8192" y="4096"/>
                  </a:moveTo>
                  <a:cubicBezTo>
                    <a:pt x="8192" y="6382"/>
                    <a:pt x="6382" y="8192"/>
                    <a:pt x="4096" y="8192"/>
                  </a:cubicBezTo>
                  <a:cubicBezTo>
                    <a:pt x="1810" y="8192"/>
                    <a:pt x="0" y="6382"/>
                    <a:pt x="0" y="4096"/>
                  </a:cubicBezTo>
                  <a:cubicBezTo>
                    <a:pt x="0" y="1810"/>
                    <a:pt x="1810" y="0"/>
                    <a:pt x="4096" y="0"/>
                  </a:cubicBezTo>
                  <a:cubicBezTo>
                    <a:pt x="6382" y="0"/>
                    <a:pt x="8192" y="1810"/>
                    <a:pt x="8192" y="4096"/>
                  </a:cubicBezTo>
                  <a:lnTo>
                    <a:pt x="8192" y="4096"/>
                  </a:lnTo>
                  <a:close/>
                  <a:moveTo>
                    <a:pt x="7811" y="4096"/>
                  </a:moveTo>
                  <a:cubicBezTo>
                    <a:pt x="7811" y="6096"/>
                    <a:pt x="6096" y="7811"/>
                    <a:pt x="4096" y="7811"/>
                  </a:cubicBezTo>
                  <a:cubicBezTo>
                    <a:pt x="2096" y="7811"/>
                    <a:pt x="381" y="6096"/>
                    <a:pt x="381" y="4096"/>
                  </a:cubicBezTo>
                  <a:cubicBezTo>
                    <a:pt x="381" y="2000"/>
                    <a:pt x="2096" y="381"/>
                    <a:pt x="4096" y="381"/>
                  </a:cubicBezTo>
                  <a:cubicBezTo>
                    <a:pt x="6191" y="381"/>
                    <a:pt x="7811" y="2000"/>
                    <a:pt x="7811" y="4096"/>
                  </a:cubicBezTo>
                  <a:lnTo>
                    <a:pt x="7811" y="4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6" name="Freihandform: Form 935">
              <a:extLst>
                <a:ext uri="{FF2B5EF4-FFF2-40B4-BE49-F238E27FC236}">
                  <a16:creationId xmlns:a16="http://schemas.microsoft.com/office/drawing/2014/main" id="{A6B77D16-CB02-640D-B347-25E572E0EECA}"/>
                </a:ext>
              </a:extLst>
            </p:cNvPr>
            <p:cNvSpPr/>
            <p:nvPr/>
          </p:nvSpPr>
          <p:spPr>
            <a:xfrm>
              <a:off x="5477114" y="2905492"/>
              <a:ext cx="285" cy="3143"/>
            </a:xfrm>
            <a:custGeom>
              <a:avLst/>
              <a:gdLst>
                <a:gd name="connsiteX0" fmla="*/ 286 w 285"/>
                <a:gd name="connsiteY0" fmla="*/ 3143 h 3143"/>
                <a:gd name="connsiteX1" fmla="*/ 286 w 285"/>
                <a:gd name="connsiteY1" fmla="*/ 0 h 3143"/>
                <a:gd name="connsiteX2" fmla="*/ 0 w 285"/>
                <a:gd name="connsiteY2" fmla="*/ 0 h 3143"/>
                <a:gd name="connsiteX3" fmla="*/ 0 w 285"/>
                <a:gd name="connsiteY3" fmla="*/ 3143 h 3143"/>
                <a:gd name="connsiteX4" fmla="*/ 286 w 285"/>
                <a:gd name="connsiteY4" fmla="*/ 3143 h 3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" h="3143">
                  <a:moveTo>
                    <a:pt x="286" y="3143"/>
                  </a:moveTo>
                  <a:lnTo>
                    <a:pt x="286" y="0"/>
                  </a:lnTo>
                  <a:lnTo>
                    <a:pt x="0" y="0"/>
                  </a:lnTo>
                  <a:lnTo>
                    <a:pt x="0" y="3143"/>
                  </a:lnTo>
                  <a:lnTo>
                    <a:pt x="286" y="3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7" name="Freihandform: Form 936">
              <a:extLst>
                <a:ext uri="{FF2B5EF4-FFF2-40B4-BE49-F238E27FC236}">
                  <a16:creationId xmlns:a16="http://schemas.microsoft.com/office/drawing/2014/main" id="{8CD21876-C442-8684-2617-1078728143A6}"/>
                </a:ext>
              </a:extLst>
            </p:cNvPr>
            <p:cNvSpPr/>
            <p:nvPr/>
          </p:nvSpPr>
          <p:spPr>
            <a:xfrm>
              <a:off x="5473400" y="2904825"/>
              <a:ext cx="3333" cy="952"/>
            </a:xfrm>
            <a:custGeom>
              <a:avLst/>
              <a:gdLst>
                <a:gd name="connsiteX0" fmla="*/ 0 w 3333"/>
                <a:gd name="connsiteY0" fmla="*/ 953 h 952"/>
                <a:gd name="connsiteX1" fmla="*/ 3334 w 3333"/>
                <a:gd name="connsiteY1" fmla="*/ 381 h 952"/>
                <a:gd name="connsiteX2" fmla="*/ 3334 w 3333"/>
                <a:gd name="connsiteY2" fmla="*/ 0 h 952"/>
                <a:gd name="connsiteX3" fmla="*/ 0 w 3333"/>
                <a:gd name="connsiteY3" fmla="*/ 667 h 952"/>
                <a:gd name="connsiteX4" fmla="*/ 0 w 3333"/>
                <a:gd name="connsiteY4" fmla="*/ 953 h 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952">
                  <a:moveTo>
                    <a:pt x="0" y="953"/>
                  </a:moveTo>
                  <a:lnTo>
                    <a:pt x="3334" y="381"/>
                  </a:lnTo>
                  <a:lnTo>
                    <a:pt x="3334" y="0"/>
                  </a:lnTo>
                  <a:lnTo>
                    <a:pt x="0" y="667"/>
                  </a:lnTo>
                  <a:lnTo>
                    <a:pt x="0" y="95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8" name="Freihandform: Form 937">
              <a:extLst>
                <a:ext uri="{FF2B5EF4-FFF2-40B4-BE49-F238E27FC236}">
                  <a16:creationId xmlns:a16="http://schemas.microsoft.com/office/drawing/2014/main" id="{D6240F3E-1DBD-96D4-B603-C42D4C0679D7}"/>
                </a:ext>
              </a:extLst>
            </p:cNvPr>
            <p:cNvSpPr/>
            <p:nvPr/>
          </p:nvSpPr>
          <p:spPr>
            <a:xfrm>
              <a:off x="5474638" y="2901777"/>
              <a:ext cx="2286" cy="2476"/>
            </a:xfrm>
            <a:custGeom>
              <a:avLst/>
              <a:gdLst>
                <a:gd name="connsiteX0" fmla="*/ 0 w 2286"/>
                <a:gd name="connsiteY0" fmla="*/ 191 h 2476"/>
                <a:gd name="connsiteX1" fmla="*/ 2096 w 2286"/>
                <a:gd name="connsiteY1" fmla="*/ 2477 h 2476"/>
                <a:gd name="connsiteX2" fmla="*/ 2286 w 2286"/>
                <a:gd name="connsiteY2" fmla="*/ 2286 h 2476"/>
                <a:gd name="connsiteX3" fmla="*/ 191 w 2286"/>
                <a:gd name="connsiteY3" fmla="*/ 0 h 2476"/>
                <a:gd name="connsiteX4" fmla="*/ 0 w 2286"/>
                <a:gd name="connsiteY4" fmla="*/ 191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" h="2476">
                  <a:moveTo>
                    <a:pt x="0" y="191"/>
                  </a:moveTo>
                  <a:lnTo>
                    <a:pt x="2096" y="2477"/>
                  </a:lnTo>
                  <a:lnTo>
                    <a:pt x="2286" y="2286"/>
                  </a:lnTo>
                  <a:lnTo>
                    <a:pt x="191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9" name="Freihandform: Form 938">
              <a:extLst>
                <a:ext uri="{FF2B5EF4-FFF2-40B4-BE49-F238E27FC236}">
                  <a16:creationId xmlns:a16="http://schemas.microsoft.com/office/drawing/2014/main" id="{ECCD3BE8-32AE-75A2-89F3-748DE714701A}"/>
                </a:ext>
              </a:extLst>
            </p:cNvPr>
            <p:cNvSpPr/>
            <p:nvPr/>
          </p:nvSpPr>
          <p:spPr>
            <a:xfrm>
              <a:off x="5477496" y="2901396"/>
              <a:ext cx="1904" cy="2762"/>
            </a:xfrm>
            <a:custGeom>
              <a:avLst/>
              <a:gdLst>
                <a:gd name="connsiteX0" fmla="*/ 1619 w 1904"/>
                <a:gd name="connsiteY0" fmla="*/ 0 h 2762"/>
                <a:gd name="connsiteX1" fmla="*/ 0 w 1904"/>
                <a:gd name="connsiteY1" fmla="*/ 2572 h 2762"/>
                <a:gd name="connsiteX2" fmla="*/ 286 w 1904"/>
                <a:gd name="connsiteY2" fmla="*/ 2762 h 2762"/>
                <a:gd name="connsiteX3" fmla="*/ 1905 w 1904"/>
                <a:gd name="connsiteY3" fmla="*/ 191 h 2762"/>
                <a:gd name="connsiteX4" fmla="*/ 1619 w 1904"/>
                <a:gd name="connsiteY4" fmla="*/ 0 h 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4" h="2762">
                  <a:moveTo>
                    <a:pt x="1619" y="0"/>
                  </a:moveTo>
                  <a:lnTo>
                    <a:pt x="0" y="2572"/>
                  </a:lnTo>
                  <a:lnTo>
                    <a:pt x="286" y="2762"/>
                  </a:lnTo>
                  <a:lnTo>
                    <a:pt x="1905" y="191"/>
                  </a:lnTo>
                  <a:lnTo>
                    <a:pt x="1619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0" name="Freihandform: Form 939">
              <a:extLst>
                <a:ext uri="{FF2B5EF4-FFF2-40B4-BE49-F238E27FC236}">
                  <a16:creationId xmlns:a16="http://schemas.microsoft.com/office/drawing/2014/main" id="{A6C46A11-47AA-F4F1-4F0E-EFF3BE53A99E}"/>
                </a:ext>
              </a:extLst>
            </p:cNvPr>
            <p:cNvSpPr/>
            <p:nvPr/>
          </p:nvSpPr>
          <p:spPr>
            <a:xfrm>
              <a:off x="5477972" y="2904825"/>
              <a:ext cx="3047" cy="1142"/>
            </a:xfrm>
            <a:custGeom>
              <a:avLst/>
              <a:gdLst>
                <a:gd name="connsiteX0" fmla="*/ 3048 w 3047"/>
                <a:gd name="connsiteY0" fmla="*/ 857 h 1142"/>
                <a:gd name="connsiteX1" fmla="*/ 95 w 3047"/>
                <a:gd name="connsiteY1" fmla="*/ 0 h 1142"/>
                <a:gd name="connsiteX2" fmla="*/ 0 w 3047"/>
                <a:gd name="connsiteY2" fmla="*/ 286 h 1142"/>
                <a:gd name="connsiteX3" fmla="*/ 2953 w 3047"/>
                <a:gd name="connsiteY3" fmla="*/ 1143 h 1142"/>
                <a:gd name="connsiteX4" fmla="*/ 3048 w 3047"/>
                <a:gd name="connsiteY4" fmla="*/ 857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" h="1142">
                  <a:moveTo>
                    <a:pt x="3048" y="857"/>
                  </a:moveTo>
                  <a:lnTo>
                    <a:pt x="95" y="0"/>
                  </a:lnTo>
                  <a:lnTo>
                    <a:pt x="0" y="286"/>
                  </a:lnTo>
                  <a:lnTo>
                    <a:pt x="2953" y="1143"/>
                  </a:lnTo>
                  <a:lnTo>
                    <a:pt x="3048" y="857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1" name="Freihandform: Form 940">
              <a:extLst>
                <a:ext uri="{FF2B5EF4-FFF2-40B4-BE49-F238E27FC236}">
                  <a16:creationId xmlns:a16="http://schemas.microsoft.com/office/drawing/2014/main" id="{8702A380-E0F1-E489-4ADD-ECE045242474}"/>
                </a:ext>
              </a:extLst>
            </p:cNvPr>
            <p:cNvSpPr/>
            <p:nvPr/>
          </p:nvSpPr>
          <p:spPr>
            <a:xfrm>
              <a:off x="5476353" y="2903777"/>
              <a:ext cx="1904" cy="1904"/>
            </a:xfrm>
            <a:custGeom>
              <a:avLst/>
              <a:gdLst>
                <a:gd name="connsiteX0" fmla="*/ 1905 w 1904"/>
                <a:gd name="connsiteY0" fmla="*/ 953 h 1904"/>
                <a:gd name="connsiteX1" fmla="*/ 952 w 1904"/>
                <a:gd name="connsiteY1" fmla="*/ 1905 h 1904"/>
                <a:gd name="connsiteX2" fmla="*/ 0 w 1904"/>
                <a:gd name="connsiteY2" fmla="*/ 953 h 1904"/>
                <a:gd name="connsiteX3" fmla="*/ 952 w 1904"/>
                <a:gd name="connsiteY3" fmla="*/ 0 h 1904"/>
                <a:gd name="connsiteX4" fmla="*/ 1905 w 1904"/>
                <a:gd name="connsiteY4" fmla="*/ 953 h 1904"/>
                <a:gd name="connsiteX5" fmla="*/ 1905 w 1904"/>
                <a:gd name="connsiteY5" fmla="*/ 953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4" h="1904">
                  <a:moveTo>
                    <a:pt x="1905" y="953"/>
                  </a:moveTo>
                  <a:cubicBezTo>
                    <a:pt x="1905" y="1429"/>
                    <a:pt x="1524" y="1905"/>
                    <a:pt x="952" y="1905"/>
                  </a:cubicBezTo>
                  <a:cubicBezTo>
                    <a:pt x="476" y="1905"/>
                    <a:pt x="0" y="1524"/>
                    <a:pt x="0" y="953"/>
                  </a:cubicBezTo>
                  <a:cubicBezTo>
                    <a:pt x="0" y="476"/>
                    <a:pt x="381" y="0"/>
                    <a:pt x="952" y="0"/>
                  </a:cubicBezTo>
                  <a:cubicBezTo>
                    <a:pt x="1429" y="0"/>
                    <a:pt x="1905" y="476"/>
                    <a:pt x="1905" y="953"/>
                  </a:cubicBezTo>
                  <a:lnTo>
                    <a:pt x="1905" y="95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2" name="Freihandform: Form 941">
              <a:extLst>
                <a:ext uri="{FF2B5EF4-FFF2-40B4-BE49-F238E27FC236}">
                  <a16:creationId xmlns:a16="http://schemas.microsoft.com/office/drawing/2014/main" id="{6049AD82-3872-10AC-5E11-E7100E11C363}"/>
                </a:ext>
              </a:extLst>
            </p:cNvPr>
            <p:cNvSpPr/>
            <p:nvPr/>
          </p:nvSpPr>
          <p:spPr>
            <a:xfrm>
              <a:off x="5460541" y="3083324"/>
              <a:ext cx="26288" cy="26288"/>
            </a:xfrm>
            <a:custGeom>
              <a:avLst/>
              <a:gdLst>
                <a:gd name="connsiteX0" fmla="*/ 26289 w 26288"/>
                <a:gd name="connsiteY0" fmla="*/ 13144 h 26288"/>
                <a:gd name="connsiteX1" fmla="*/ 13144 w 26288"/>
                <a:gd name="connsiteY1" fmla="*/ 26289 h 26288"/>
                <a:gd name="connsiteX2" fmla="*/ 0 w 26288"/>
                <a:gd name="connsiteY2" fmla="*/ 13144 h 26288"/>
                <a:gd name="connsiteX3" fmla="*/ 13144 w 26288"/>
                <a:gd name="connsiteY3" fmla="*/ 0 h 26288"/>
                <a:gd name="connsiteX4" fmla="*/ 26289 w 26288"/>
                <a:gd name="connsiteY4" fmla="*/ 13144 h 26288"/>
                <a:gd name="connsiteX5" fmla="*/ 26289 w 26288"/>
                <a:gd name="connsiteY5" fmla="*/ 13144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88" h="26288">
                  <a:moveTo>
                    <a:pt x="26289" y="13144"/>
                  </a:moveTo>
                  <a:cubicBezTo>
                    <a:pt x="26289" y="20383"/>
                    <a:pt x="20383" y="26289"/>
                    <a:pt x="13144" y="26289"/>
                  </a:cubicBezTo>
                  <a:cubicBezTo>
                    <a:pt x="5905" y="26289"/>
                    <a:pt x="0" y="20383"/>
                    <a:pt x="0" y="13144"/>
                  </a:cubicBezTo>
                  <a:cubicBezTo>
                    <a:pt x="0" y="5905"/>
                    <a:pt x="5905" y="0"/>
                    <a:pt x="13144" y="0"/>
                  </a:cubicBezTo>
                  <a:cubicBezTo>
                    <a:pt x="20383" y="0"/>
                    <a:pt x="26289" y="5905"/>
                    <a:pt x="26289" y="13144"/>
                  </a:cubicBezTo>
                  <a:lnTo>
                    <a:pt x="26289" y="1314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3" name="Freihandform: Form 942">
              <a:extLst>
                <a:ext uri="{FF2B5EF4-FFF2-40B4-BE49-F238E27FC236}">
                  <a16:creationId xmlns:a16="http://schemas.microsoft.com/office/drawing/2014/main" id="{5ED4D313-68D8-5F66-B8AE-BBC47A88FC5C}"/>
                </a:ext>
              </a:extLst>
            </p:cNvPr>
            <p:cNvSpPr/>
            <p:nvPr/>
          </p:nvSpPr>
          <p:spPr>
            <a:xfrm>
              <a:off x="5461208" y="3083895"/>
              <a:ext cx="24955" cy="25050"/>
            </a:xfrm>
            <a:custGeom>
              <a:avLst/>
              <a:gdLst>
                <a:gd name="connsiteX0" fmla="*/ 24956 w 24955"/>
                <a:gd name="connsiteY0" fmla="*/ 12573 h 25050"/>
                <a:gd name="connsiteX1" fmla="*/ 12478 w 24955"/>
                <a:gd name="connsiteY1" fmla="*/ 25051 h 25050"/>
                <a:gd name="connsiteX2" fmla="*/ 0 w 24955"/>
                <a:gd name="connsiteY2" fmla="*/ 12573 h 25050"/>
                <a:gd name="connsiteX3" fmla="*/ 12478 w 24955"/>
                <a:gd name="connsiteY3" fmla="*/ 0 h 25050"/>
                <a:gd name="connsiteX4" fmla="*/ 24956 w 24955"/>
                <a:gd name="connsiteY4" fmla="*/ 12573 h 25050"/>
                <a:gd name="connsiteX5" fmla="*/ 24956 w 24955"/>
                <a:gd name="connsiteY5" fmla="*/ 12573 h 2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55" h="25050">
                  <a:moveTo>
                    <a:pt x="24956" y="12573"/>
                  </a:moveTo>
                  <a:cubicBezTo>
                    <a:pt x="24956" y="19526"/>
                    <a:pt x="19336" y="25051"/>
                    <a:pt x="12478" y="25051"/>
                  </a:cubicBezTo>
                  <a:cubicBezTo>
                    <a:pt x="5620" y="25051"/>
                    <a:pt x="0" y="19431"/>
                    <a:pt x="0" y="12573"/>
                  </a:cubicBezTo>
                  <a:cubicBezTo>
                    <a:pt x="0" y="5620"/>
                    <a:pt x="5620" y="0"/>
                    <a:pt x="12478" y="0"/>
                  </a:cubicBezTo>
                  <a:cubicBezTo>
                    <a:pt x="19336" y="0"/>
                    <a:pt x="24956" y="5620"/>
                    <a:pt x="24956" y="12573"/>
                  </a:cubicBezTo>
                  <a:lnTo>
                    <a:pt x="24956" y="1257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4" name="Freihandform: Form 943">
              <a:extLst>
                <a:ext uri="{FF2B5EF4-FFF2-40B4-BE49-F238E27FC236}">
                  <a16:creationId xmlns:a16="http://schemas.microsoft.com/office/drawing/2014/main" id="{4B57AE8A-A9F1-590B-BA12-7611101D244B}"/>
                </a:ext>
              </a:extLst>
            </p:cNvPr>
            <p:cNvSpPr/>
            <p:nvPr/>
          </p:nvSpPr>
          <p:spPr>
            <a:xfrm>
              <a:off x="5407772" y="3083324"/>
              <a:ext cx="26289" cy="26288"/>
            </a:xfrm>
            <a:custGeom>
              <a:avLst/>
              <a:gdLst>
                <a:gd name="connsiteX0" fmla="*/ 26289 w 26289"/>
                <a:gd name="connsiteY0" fmla="*/ 13144 h 26288"/>
                <a:gd name="connsiteX1" fmla="*/ 13145 w 26289"/>
                <a:gd name="connsiteY1" fmla="*/ 26289 h 26288"/>
                <a:gd name="connsiteX2" fmla="*/ 0 w 26289"/>
                <a:gd name="connsiteY2" fmla="*/ 13144 h 26288"/>
                <a:gd name="connsiteX3" fmla="*/ 13145 w 26289"/>
                <a:gd name="connsiteY3" fmla="*/ 0 h 26288"/>
                <a:gd name="connsiteX4" fmla="*/ 26289 w 26289"/>
                <a:gd name="connsiteY4" fmla="*/ 13144 h 26288"/>
                <a:gd name="connsiteX5" fmla="*/ 26289 w 26289"/>
                <a:gd name="connsiteY5" fmla="*/ 13144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89" h="26288">
                  <a:moveTo>
                    <a:pt x="26289" y="13144"/>
                  </a:moveTo>
                  <a:cubicBezTo>
                    <a:pt x="26289" y="20383"/>
                    <a:pt x="20383" y="26289"/>
                    <a:pt x="13145" y="26289"/>
                  </a:cubicBezTo>
                  <a:cubicBezTo>
                    <a:pt x="5906" y="26289"/>
                    <a:pt x="0" y="20383"/>
                    <a:pt x="0" y="13144"/>
                  </a:cubicBezTo>
                  <a:cubicBezTo>
                    <a:pt x="0" y="5905"/>
                    <a:pt x="5906" y="0"/>
                    <a:pt x="13145" y="0"/>
                  </a:cubicBezTo>
                  <a:cubicBezTo>
                    <a:pt x="20383" y="0"/>
                    <a:pt x="26289" y="5905"/>
                    <a:pt x="26289" y="13144"/>
                  </a:cubicBezTo>
                  <a:lnTo>
                    <a:pt x="26289" y="1314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5" name="Freihandform: Form 944">
              <a:extLst>
                <a:ext uri="{FF2B5EF4-FFF2-40B4-BE49-F238E27FC236}">
                  <a16:creationId xmlns:a16="http://schemas.microsoft.com/office/drawing/2014/main" id="{6FCE8FC9-E387-7D43-7753-53B9717E828E}"/>
                </a:ext>
              </a:extLst>
            </p:cNvPr>
            <p:cNvSpPr/>
            <p:nvPr/>
          </p:nvSpPr>
          <p:spPr>
            <a:xfrm>
              <a:off x="5408344" y="3083895"/>
              <a:ext cx="25050" cy="25050"/>
            </a:xfrm>
            <a:custGeom>
              <a:avLst/>
              <a:gdLst>
                <a:gd name="connsiteX0" fmla="*/ 25051 w 25050"/>
                <a:gd name="connsiteY0" fmla="*/ 12573 h 25050"/>
                <a:gd name="connsiteX1" fmla="*/ 12573 w 25050"/>
                <a:gd name="connsiteY1" fmla="*/ 25051 h 25050"/>
                <a:gd name="connsiteX2" fmla="*/ 0 w 25050"/>
                <a:gd name="connsiteY2" fmla="*/ 12573 h 25050"/>
                <a:gd name="connsiteX3" fmla="*/ 12573 w 25050"/>
                <a:gd name="connsiteY3" fmla="*/ 0 h 25050"/>
                <a:gd name="connsiteX4" fmla="*/ 25051 w 25050"/>
                <a:gd name="connsiteY4" fmla="*/ 12573 h 25050"/>
                <a:gd name="connsiteX5" fmla="*/ 25051 w 25050"/>
                <a:gd name="connsiteY5" fmla="*/ 12573 h 2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50" h="25050">
                  <a:moveTo>
                    <a:pt x="25051" y="12573"/>
                  </a:moveTo>
                  <a:cubicBezTo>
                    <a:pt x="25051" y="19526"/>
                    <a:pt x="19431" y="25051"/>
                    <a:pt x="12573" y="25051"/>
                  </a:cubicBezTo>
                  <a:cubicBezTo>
                    <a:pt x="5620" y="25051"/>
                    <a:pt x="0" y="19431"/>
                    <a:pt x="0" y="12573"/>
                  </a:cubicBezTo>
                  <a:cubicBezTo>
                    <a:pt x="0" y="5620"/>
                    <a:pt x="5620" y="0"/>
                    <a:pt x="12573" y="0"/>
                  </a:cubicBezTo>
                  <a:cubicBezTo>
                    <a:pt x="19431" y="0"/>
                    <a:pt x="25051" y="5620"/>
                    <a:pt x="25051" y="12573"/>
                  </a:cubicBezTo>
                  <a:lnTo>
                    <a:pt x="25051" y="1257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6" name="Freihandform: Form 945">
              <a:extLst>
                <a:ext uri="{FF2B5EF4-FFF2-40B4-BE49-F238E27FC236}">
                  <a16:creationId xmlns:a16="http://schemas.microsoft.com/office/drawing/2014/main" id="{B198A04A-1B79-2822-95FB-ACC3E74577EE}"/>
                </a:ext>
              </a:extLst>
            </p:cNvPr>
            <p:cNvSpPr/>
            <p:nvPr/>
          </p:nvSpPr>
          <p:spPr>
            <a:xfrm>
              <a:off x="5498736" y="3091705"/>
              <a:ext cx="16002" cy="16002"/>
            </a:xfrm>
            <a:custGeom>
              <a:avLst/>
              <a:gdLst>
                <a:gd name="connsiteX0" fmla="*/ 16002 w 16002"/>
                <a:gd name="connsiteY0" fmla="*/ 8001 h 16002"/>
                <a:gd name="connsiteX1" fmla="*/ 8001 w 16002"/>
                <a:gd name="connsiteY1" fmla="*/ 16002 h 16002"/>
                <a:gd name="connsiteX2" fmla="*/ 0 w 16002"/>
                <a:gd name="connsiteY2" fmla="*/ 8001 h 16002"/>
                <a:gd name="connsiteX3" fmla="*/ 8001 w 16002"/>
                <a:gd name="connsiteY3" fmla="*/ 0 h 16002"/>
                <a:gd name="connsiteX4" fmla="*/ 16002 w 16002"/>
                <a:gd name="connsiteY4" fmla="*/ 8001 h 16002"/>
                <a:gd name="connsiteX5" fmla="*/ 16002 w 16002"/>
                <a:gd name="connsiteY5" fmla="*/ 8001 h 1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02" h="16002">
                  <a:moveTo>
                    <a:pt x="16002" y="8001"/>
                  </a:moveTo>
                  <a:cubicBezTo>
                    <a:pt x="16002" y="12478"/>
                    <a:pt x="12383" y="16002"/>
                    <a:pt x="8001" y="16002"/>
                  </a:cubicBezTo>
                  <a:cubicBezTo>
                    <a:pt x="3524" y="16002"/>
                    <a:pt x="0" y="12383"/>
                    <a:pt x="0" y="8001"/>
                  </a:cubicBezTo>
                  <a:cubicBezTo>
                    <a:pt x="0" y="3524"/>
                    <a:pt x="3620" y="0"/>
                    <a:pt x="8001" y="0"/>
                  </a:cubicBezTo>
                  <a:cubicBezTo>
                    <a:pt x="12383" y="0"/>
                    <a:pt x="16002" y="3620"/>
                    <a:pt x="16002" y="8001"/>
                  </a:cubicBezTo>
                  <a:lnTo>
                    <a:pt x="16002" y="800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7" name="Freihandform: Form 946">
              <a:extLst>
                <a:ext uri="{FF2B5EF4-FFF2-40B4-BE49-F238E27FC236}">
                  <a16:creationId xmlns:a16="http://schemas.microsoft.com/office/drawing/2014/main" id="{16FCC5AD-C7FB-952C-1625-38844837FB5C}"/>
                </a:ext>
              </a:extLst>
            </p:cNvPr>
            <p:cNvSpPr/>
            <p:nvPr/>
          </p:nvSpPr>
          <p:spPr>
            <a:xfrm>
              <a:off x="5499117" y="3092087"/>
              <a:ext cx="15239" cy="15239"/>
            </a:xfrm>
            <a:custGeom>
              <a:avLst/>
              <a:gdLst>
                <a:gd name="connsiteX0" fmla="*/ 15240 w 15239"/>
                <a:gd name="connsiteY0" fmla="*/ 7620 h 15239"/>
                <a:gd name="connsiteX1" fmla="*/ 7620 w 15239"/>
                <a:gd name="connsiteY1" fmla="*/ 15240 h 15239"/>
                <a:gd name="connsiteX2" fmla="*/ 0 w 15239"/>
                <a:gd name="connsiteY2" fmla="*/ 7620 h 15239"/>
                <a:gd name="connsiteX3" fmla="*/ 7620 w 15239"/>
                <a:gd name="connsiteY3" fmla="*/ 0 h 15239"/>
                <a:gd name="connsiteX4" fmla="*/ 15240 w 15239"/>
                <a:gd name="connsiteY4" fmla="*/ 7620 h 15239"/>
                <a:gd name="connsiteX5" fmla="*/ 15240 w 15239"/>
                <a:gd name="connsiteY5" fmla="*/ 7620 h 1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39" h="15239">
                  <a:moveTo>
                    <a:pt x="15240" y="7620"/>
                  </a:moveTo>
                  <a:cubicBezTo>
                    <a:pt x="15240" y="11811"/>
                    <a:pt x="11811" y="15240"/>
                    <a:pt x="7620" y="15240"/>
                  </a:cubicBezTo>
                  <a:cubicBezTo>
                    <a:pt x="3429" y="15240"/>
                    <a:pt x="0" y="11811"/>
                    <a:pt x="0" y="7620"/>
                  </a:cubicBezTo>
                  <a:cubicBezTo>
                    <a:pt x="0" y="3429"/>
                    <a:pt x="3429" y="0"/>
                    <a:pt x="7620" y="0"/>
                  </a:cubicBezTo>
                  <a:cubicBezTo>
                    <a:pt x="11811" y="0"/>
                    <a:pt x="15240" y="3429"/>
                    <a:pt x="15240" y="7620"/>
                  </a:cubicBezTo>
                  <a:lnTo>
                    <a:pt x="15240" y="762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8" name="Freihandform: Form 947">
              <a:extLst>
                <a:ext uri="{FF2B5EF4-FFF2-40B4-BE49-F238E27FC236}">
                  <a16:creationId xmlns:a16="http://schemas.microsoft.com/office/drawing/2014/main" id="{76A404F9-DEB4-6D2D-760D-A55494340AE6}"/>
                </a:ext>
              </a:extLst>
            </p:cNvPr>
            <p:cNvSpPr/>
            <p:nvPr/>
          </p:nvSpPr>
          <p:spPr>
            <a:xfrm>
              <a:off x="5523692" y="3091515"/>
              <a:ext cx="16097" cy="16001"/>
            </a:xfrm>
            <a:custGeom>
              <a:avLst/>
              <a:gdLst>
                <a:gd name="connsiteX0" fmla="*/ 16097 w 16097"/>
                <a:gd name="connsiteY0" fmla="*/ 8001 h 16001"/>
                <a:gd name="connsiteX1" fmla="*/ 8096 w 16097"/>
                <a:gd name="connsiteY1" fmla="*/ 16002 h 16001"/>
                <a:gd name="connsiteX2" fmla="*/ 0 w 16097"/>
                <a:gd name="connsiteY2" fmla="*/ 8001 h 16001"/>
                <a:gd name="connsiteX3" fmla="*/ 8096 w 16097"/>
                <a:gd name="connsiteY3" fmla="*/ 0 h 16001"/>
                <a:gd name="connsiteX4" fmla="*/ 16097 w 16097"/>
                <a:gd name="connsiteY4" fmla="*/ 8001 h 16001"/>
                <a:gd name="connsiteX5" fmla="*/ 16097 w 16097"/>
                <a:gd name="connsiteY5" fmla="*/ 8001 h 1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97" h="16001">
                  <a:moveTo>
                    <a:pt x="16097" y="8001"/>
                  </a:moveTo>
                  <a:cubicBezTo>
                    <a:pt x="16097" y="12478"/>
                    <a:pt x="12478" y="16002"/>
                    <a:pt x="8096" y="16002"/>
                  </a:cubicBezTo>
                  <a:cubicBezTo>
                    <a:pt x="3620" y="16002"/>
                    <a:pt x="0" y="12382"/>
                    <a:pt x="0" y="8001"/>
                  </a:cubicBezTo>
                  <a:cubicBezTo>
                    <a:pt x="0" y="3524"/>
                    <a:pt x="3620" y="0"/>
                    <a:pt x="8096" y="0"/>
                  </a:cubicBezTo>
                  <a:cubicBezTo>
                    <a:pt x="12573" y="0"/>
                    <a:pt x="16097" y="3619"/>
                    <a:pt x="16097" y="8001"/>
                  </a:cubicBezTo>
                  <a:lnTo>
                    <a:pt x="16097" y="800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9" name="Freihandform: Form 948">
              <a:extLst>
                <a:ext uri="{FF2B5EF4-FFF2-40B4-BE49-F238E27FC236}">
                  <a16:creationId xmlns:a16="http://schemas.microsoft.com/office/drawing/2014/main" id="{827CA4ED-94FA-3C66-8724-F17632048F14}"/>
                </a:ext>
              </a:extLst>
            </p:cNvPr>
            <p:cNvSpPr/>
            <p:nvPr/>
          </p:nvSpPr>
          <p:spPr>
            <a:xfrm>
              <a:off x="5524168" y="3091896"/>
              <a:ext cx="15240" cy="15240"/>
            </a:xfrm>
            <a:custGeom>
              <a:avLst/>
              <a:gdLst>
                <a:gd name="connsiteX0" fmla="*/ 15240 w 15240"/>
                <a:gd name="connsiteY0" fmla="*/ 7620 h 15240"/>
                <a:gd name="connsiteX1" fmla="*/ 7620 w 15240"/>
                <a:gd name="connsiteY1" fmla="*/ 15240 h 15240"/>
                <a:gd name="connsiteX2" fmla="*/ 0 w 15240"/>
                <a:gd name="connsiteY2" fmla="*/ 7620 h 15240"/>
                <a:gd name="connsiteX3" fmla="*/ 7620 w 15240"/>
                <a:gd name="connsiteY3" fmla="*/ 0 h 15240"/>
                <a:gd name="connsiteX4" fmla="*/ 15240 w 15240"/>
                <a:gd name="connsiteY4" fmla="*/ 7620 h 15240"/>
                <a:gd name="connsiteX5" fmla="*/ 15240 w 15240"/>
                <a:gd name="connsiteY5" fmla="*/ 7620 h 1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" h="15240">
                  <a:moveTo>
                    <a:pt x="15240" y="7620"/>
                  </a:moveTo>
                  <a:cubicBezTo>
                    <a:pt x="15240" y="11811"/>
                    <a:pt x="11811" y="15240"/>
                    <a:pt x="7620" y="15240"/>
                  </a:cubicBezTo>
                  <a:cubicBezTo>
                    <a:pt x="3429" y="15240"/>
                    <a:pt x="0" y="11811"/>
                    <a:pt x="0" y="7620"/>
                  </a:cubicBezTo>
                  <a:cubicBezTo>
                    <a:pt x="0" y="3429"/>
                    <a:pt x="3429" y="0"/>
                    <a:pt x="7620" y="0"/>
                  </a:cubicBezTo>
                  <a:cubicBezTo>
                    <a:pt x="11811" y="0"/>
                    <a:pt x="15240" y="3429"/>
                    <a:pt x="15240" y="7620"/>
                  </a:cubicBezTo>
                  <a:lnTo>
                    <a:pt x="15240" y="762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0" name="Freihandform: Form 949">
              <a:extLst>
                <a:ext uri="{FF2B5EF4-FFF2-40B4-BE49-F238E27FC236}">
                  <a16:creationId xmlns:a16="http://schemas.microsoft.com/office/drawing/2014/main" id="{A7EEFFF8-7BF5-FB43-D68C-42B03776AF3E}"/>
                </a:ext>
              </a:extLst>
            </p:cNvPr>
            <p:cNvSpPr/>
            <p:nvPr/>
          </p:nvSpPr>
          <p:spPr>
            <a:xfrm>
              <a:off x="5612655" y="2861486"/>
              <a:ext cx="239267" cy="9906"/>
            </a:xfrm>
            <a:custGeom>
              <a:avLst/>
              <a:gdLst>
                <a:gd name="connsiteX0" fmla="*/ 236792 w 239267"/>
                <a:gd name="connsiteY0" fmla="*/ 9906 h 9906"/>
                <a:gd name="connsiteX1" fmla="*/ 239268 w 239267"/>
                <a:gd name="connsiteY1" fmla="*/ 7429 h 9906"/>
                <a:gd name="connsiteX2" fmla="*/ 239268 w 239267"/>
                <a:gd name="connsiteY2" fmla="*/ 2476 h 9906"/>
                <a:gd name="connsiteX3" fmla="*/ 236792 w 239267"/>
                <a:gd name="connsiteY3" fmla="*/ 0 h 9906"/>
                <a:gd name="connsiteX4" fmla="*/ 2476 w 239267"/>
                <a:gd name="connsiteY4" fmla="*/ 0 h 9906"/>
                <a:gd name="connsiteX5" fmla="*/ 0 w 239267"/>
                <a:gd name="connsiteY5" fmla="*/ 2476 h 9906"/>
                <a:gd name="connsiteX6" fmla="*/ 0 w 239267"/>
                <a:gd name="connsiteY6" fmla="*/ 7429 h 9906"/>
                <a:gd name="connsiteX7" fmla="*/ 2476 w 239267"/>
                <a:gd name="connsiteY7" fmla="*/ 9906 h 9906"/>
                <a:gd name="connsiteX8" fmla="*/ 236792 w 239267"/>
                <a:gd name="connsiteY8" fmla="*/ 9906 h 9906"/>
                <a:gd name="connsiteX9" fmla="*/ 236792 w 239267"/>
                <a:gd name="connsiteY9" fmla="*/ 9906 h 9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267" h="9906">
                  <a:moveTo>
                    <a:pt x="236792" y="9906"/>
                  </a:moveTo>
                  <a:cubicBezTo>
                    <a:pt x="238125" y="9906"/>
                    <a:pt x="239268" y="8763"/>
                    <a:pt x="239268" y="7429"/>
                  </a:cubicBezTo>
                  <a:lnTo>
                    <a:pt x="239268" y="2476"/>
                  </a:lnTo>
                  <a:cubicBezTo>
                    <a:pt x="239268" y="1143"/>
                    <a:pt x="238125" y="0"/>
                    <a:pt x="236792" y="0"/>
                  </a:cubicBezTo>
                  <a:lnTo>
                    <a:pt x="2476" y="0"/>
                  </a:lnTo>
                  <a:cubicBezTo>
                    <a:pt x="1143" y="0"/>
                    <a:pt x="0" y="1143"/>
                    <a:pt x="0" y="2476"/>
                  </a:cubicBezTo>
                  <a:lnTo>
                    <a:pt x="0" y="7429"/>
                  </a:lnTo>
                  <a:cubicBezTo>
                    <a:pt x="0" y="8763"/>
                    <a:pt x="1143" y="9906"/>
                    <a:pt x="2476" y="9906"/>
                  </a:cubicBezTo>
                  <a:lnTo>
                    <a:pt x="236792" y="9906"/>
                  </a:lnTo>
                  <a:lnTo>
                    <a:pt x="236792" y="9906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1" name="Freihandform: Form 950">
              <a:extLst>
                <a:ext uri="{FF2B5EF4-FFF2-40B4-BE49-F238E27FC236}">
                  <a16:creationId xmlns:a16="http://schemas.microsoft.com/office/drawing/2014/main" id="{FC87DC86-1215-094A-D605-37DD7B6E97F3}"/>
                </a:ext>
              </a:extLst>
            </p:cNvPr>
            <p:cNvSpPr/>
            <p:nvPr/>
          </p:nvSpPr>
          <p:spPr>
            <a:xfrm>
              <a:off x="5903549" y="2874440"/>
              <a:ext cx="16668" cy="19907"/>
            </a:xfrm>
            <a:custGeom>
              <a:avLst/>
              <a:gdLst>
                <a:gd name="connsiteX0" fmla="*/ 16669 w 16668"/>
                <a:gd name="connsiteY0" fmla="*/ 19907 h 19907"/>
                <a:gd name="connsiteX1" fmla="*/ 16669 w 16668"/>
                <a:gd name="connsiteY1" fmla="*/ 0 h 19907"/>
                <a:gd name="connsiteX2" fmla="*/ 0 w 16668"/>
                <a:gd name="connsiteY2" fmla="*/ 0 h 19907"/>
                <a:gd name="connsiteX3" fmla="*/ 0 w 16668"/>
                <a:gd name="connsiteY3" fmla="*/ 19907 h 19907"/>
                <a:gd name="connsiteX4" fmla="*/ 16669 w 16668"/>
                <a:gd name="connsiteY4" fmla="*/ 19907 h 19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68" h="19907">
                  <a:moveTo>
                    <a:pt x="16669" y="19907"/>
                  </a:moveTo>
                  <a:lnTo>
                    <a:pt x="16669" y="0"/>
                  </a:lnTo>
                  <a:lnTo>
                    <a:pt x="0" y="0"/>
                  </a:lnTo>
                  <a:lnTo>
                    <a:pt x="0" y="19907"/>
                  </a:lnTo>
                  <a:lnTo>
                    <a:pt x="16669" y="19907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2" name="Freihandform: Form 951">
              <a:extLst>
                <a:ext uri="{FF2B5EF4-FFF2-40B4-BE49-F238E27FC236}">
                  <a16:creationId xmlns:a16="http://schemas.microsoft.com/office/drawing/2014/main" id="{C5EF5EF8-9D44-BABC-3B67-2344FE33BD50}"/>
                </a:ext>
              </a:extLst>
            </p:cNvPr>
            <p:cNvSpPr/>
            <p:nvPr/>
          </p:nvSpPr>
          <p:spPr>
            <a:xfrm>
              <a:off x="5627133" y="2880917"/>
              <a:ext cx="213645" cy="11620"/>
            </a:xfrm>
            <a:custGeom>
              <a:avLst/>
              <a:gdLst>
                <a:gd name="connsiteX0" fmla="*/ 213646 w 213645"/>
                <a:gd name="connsiteY0" fmla="*/ 11620 h 11620"/>
                <a:gd name="connsiteX1" fmla="*/ 213646 w 213645"/>
                <a:gd name="connsiteY1" fmla="*/ 0 h 11620"/>
                <a:gd name="connsiteX2" fmla="*/ 0 w 213645"/>
                <a:gd name="connsiteY2" fmla="*/ 0 h 11620"/>
                <a:gd name="connsiteX3" fmla="*/ 0 w 213645"/>
                <a:gd name="connsiteY3" fmla="*/ 11620 h 11620"/>
                <a:gd name="connsiteX4" fmla="*/ 213646 w 213645"/>
                <a:gd name="connsiteY4" fmla="*/ 1162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645" h="11620">
                  <a:moveTo>
                    <a:pt x="213646" y="11620"/>
                  </a:moveTo>
                  <a:lnTo>
                    <a:pt x="213646" y="0"/>
                  </a:lnTo>
                  <a:lnTo>
                    <a:pt x="0" y="0"/>
                  </a:lnTo>
                  <a:lnTo>
                    <a:pt x="0" y="11620"/>
                  </a:lnTo>
                  <a:lnTo>
                    <a:pt x="213646" y="1162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3" name="Freihandform: Form 952">
              <a:extLst>
                <a:ext uri="{FF2B5EF4-FFF2-40B4-BE49-F238E27FC236}">
                  <a16:creationId xmlns:a16="http://schemas.microsoft.com/office/drawing/2014/main" id="{FCE2F3F3-CEB3-42E4-B1B9-C422705358FE}"/>
                </a:ext>
              </a:extLst>
            </p:cNvPr>
            <p:cNvSpPr/>
            <p:nvPr/>
          </p:nvSpPr>
          <p:spPr>
            <a:xfrm>
              <a:off x="5882689" y="3066369"/>
              <a:ext cx="40004" cy="17811"/>
            </a:xfrm>
            <a:custGeom>
              <a:avLst/>
              <a:gdLst>
                <a:gd name="connsiteX0" fmla="*/ 40005 w 40004"/>
                <a:gd name="connsiteY0" fmla="*/ 17812 h 17811"/>
                <a:gd name="connsiteX1" fmla="*/ 40005 w 40004"/>
                <a:gd name="connsiteY1" fmla="*/ 0 h 17811"/>
                <a:gd name="connsiteX2" fmla="*/ 0 w 40004"/>
                <a:gd name="connsiteY2" fmla="*/ 0 h 17811"/>
                <a:gd name="connsiteX3" fmla="*/ 0 w 40004"/>
                <a:gd name="connsiteY3" fmla="*/ 17812 h 17811"/>
                <a:gd name="connsiteX4" fmla="*/ 40005 w 40004"/>
                <a:gd name="connsiteY4" fmla="*/ 17812 h 1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4" h="17811">
                  <a:moveTo>
                    <a:pt x="40005" y="17812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17812"/>
                  </a:lnTo>
                  <a:lnTo>
                    <a:pt x="40005" y="17812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4" name="Freihandform: Form 953">
              <a:extLst>
                <a:ext uri="{FF2B5EF4-FFF2-40B4-BE49-F238E27FC236}">
                  <a16:creationId xmlns:a16="http://schemas.microsoft.com/office/drawing/2014/main" id="{6F0A436C-E1DA-3F4F-E8D8-39950C93F079}"/>
                </a:ext>
              </a:extLst>
            </p:cNvPr>
            <p:cNvSpPr/>
            <p:nvPr/>
          </p:nvSpPr>
          <p:spPr>
            <a:xfrm>
              <a:off x="5369863" y="2817576"/>
              <a:ext cx="49149" cy="51054"/>
            </a:xfrm>
            <a:custGeom>
              <a:avLst/>
              <a:gdLst>
                <a:gd name="connsiteX0" fmla="*/ 49149 w 49149"/>
                <a:gd name="connsiteY0" fmla="*/ 51054 h 51054"/>
                <a:gd name="connsiteX1" fmla="*/ 49149 w 49149"/>
                <a:gd name="connsiteY1" fmla="*/ 0 h 51054"/>
                <a:gd name="connsiteX2" fmla="*/ 0 w 49149"/>
                <a:gd name="connsiteY2" fmla="*/ 0 h 51054"/>
                <a:gd name="connsiteX3" fmla="*/ 0 w 49149"/>
                <a:gd name="connsiteY3" fmla="*/ 51054 h 51054"/>
                <a:gd name="connsiteX4" fmla="*/ 49149 w 49149"/>
                <a:gd name="connsiteY4" fmla="*/ 51054 h 5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49" h="51054">
                  <a:moveTo>
                    <a:pt x="49149" y="51054"/>
                  </a:moveTo>
                  <a:lnTo>
                    <a:pt x="49149" y="0"/>
                  </a:lnTo>
                  <a:lnTo>
                    <a:pt x="0" y="0"/>
                  </a:lnTo>
                  <a:lnTo>
                    <a:pt x="0" y="51054"/>
                  </a:lnTo>
                  <a:lnTo>
                    <a:pt x="49149" y="5105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sp>
        <p:nvSpPr>
          <p:cNvPr id="955" name="Freihandform: Form 954">
            <a:extLst>
              <a:ext uri="{FF2B5EF4-FFF2-40B4-BE49-F238E27FC236}">
                <a16:creationId xmlns:a16="http://schemas.microsoft.com/office/drawing/2014/main" id="{E16CA01A-3E0E-B265-7541-FF4D0158B17D}"/>
              </a:ext>
            </a:extLst>
          </p:cNvPr>
          <p:cNvSpPr/>
          <p:nvPr/>
        </p:nvSpPr>
        <p:spPr bwMode="auto">
          <a:xfrm rot="10800000" flipH="1">
            <a:off x="843617" y="4810245"/>
            <a:ext cx="2034931" cy="326530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29A3FF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486">
              <a:defRPr/>
            </a:pPr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56" name="Rechteck 955">
            <a:extLst>
              <a:ext uri="{FF2B5EF4-FFF2-40B4-BE49-F238E27FC236}">
                <a16:creationId xmlns:a16="http://schemas.microsoft.com/office/drawing/2014/main" id="{3076C435-2441-267C-051F-88FBE5A13008}"/>
              </a:ext>
            </a:extLst>
          </p:cNvPr>
          <p:cNvSpPr/>
          <p:nvPr/>
        </p:nvSpPr>
        <p:spPr>
          <a:xfrm>
            <a:off x="2806546" y="4869881"/>
            <a:ext cx="2064128" cy="2612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3486">
              <a:defRPr/>
            </a:pPr>
            <a:r>
              <a:rPr lang="de-DE" sz="1098" b="1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rPr>
              <a:t> </a:t>
            </a:r>
          </a:p>
        </p:txBody>
      </p:sp>
      <p:sp>
        <p:nvSpPr>
          <p:cNvPr id="957" name="Rechteck 956">
            <a:extLst>
              <a:ext uri="{FF2B5EF4-FFF2-40B4-BE49-F238E27FC236}">
                <a16:creationId xmlns:a16="http://schemas.microsoft.com/office/drawing/2014/main" id="{DEDF5963-F20D-CAB9-D3B6-356DFEF1158E}"/>
              </a:ext>
            </a:extLst>
          </p:cNvPr>
          <p:cNvSpPr/>
          <p:nvPr/>
        </p:nvSpPr>
        <p:spPr>
          <a:xfrm>
            <a:off x="1029518" y="4946752"/>
            <a:ext cx="2064128" cy="2612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10000"/>
              </a:lnSpc>
            </a:pPr>
            <a:endParaRPr lang="de-DE" sz="1100" b="1" dirty="0">
              <a:latin typeface="Siemens Sans" pitchFamily="2" charset="0"/>
            </a:endParaRPr>
          </a:p>
        </p:txBody>
      </p:sp>
      <p:cxnSp>
        <p:nvCxnSpPr>
          <p:cNvPr id="958" name="Gerader Verbinder 957">
            <a:extLst>
              <a:ext uri="{FF2B5EF4-FFF2-40B4-BE49-F238E27FC236}">
                <a16:creationId xmlns:a16="http://schemas.microsoft.com/office/drawing/2014/main" id="{56D206F6-435A-A0F1-E23D-FDE0B9CBB55E}"/>
              </a:ext>
            </a:extLst>
          </p:cNvPr>
          <p:cNvCxnSpPr>
            <a:cxnSpLocks/>
          </p:cNvCxnSpPr>
          <p:nvPr/>
        </p:nvCxnSpPr>
        <p:spPr>
          <a:xfrm>
            <a:off x="4303427" y="3850507"/>
            <a:ext cx="117531" cy="30"/>
          </a:xfrm>
          <a:prstGeom prst="line">
            <a:avLst/>
          </a:prstGeom>
          <a:ln w="63500" cmpd="dbl">
            <a:solidFill>
              <a:srgbClr val="1E1F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9" name="Grafik 199">
            <a:extLst>
              <a:ext uri="{FF2B5EF4-FFF2-40B4-BE49-F238E27FC236}">
                <a16:creationId xmlns:a16="http://schemas.microsoft.com/office/drawing/2014/main" id="{BA96943D-62F9-4A2E-6EA7-24A146BADFC5}"/>
              </a:ext>
            </a:extLst>
          </p:cNvPr>
          <p:cNvGrpSpPr/>
          <p:nvPr/>
        </p:nvGrpSpPr>
        <p:grpSpPr>
          <a:xfrm rot="5400000">
            <a:off x="2806206" y="4557323"/>
            <a:ext cx="302698" cy="309456"/>
            <a:chOff x="5423344" y="4032228"/>
            <a:chExt cx="213359" cy="218122"/>
          </a:xfrm>
          <a:solidFill>
            <a:srgbClr val="000000"/>
          </a:solidFill>
          <a:effectLst/>
        </p:grpSpPr>
        <p:sp>
          <p:nvSpPr>
            <p:cNvPr id="735" name="Freihandform: Form 734">
              <a:extLst>
                <a:ext uri="{FF2B5EF4-FFF2-40B4-BE49-F238E27FC236}">
                  <a16:creationId xmlns:a16="http://schemas.microsoft.com/office/drawing/2014/main" id="{4D9D81ED-A499-C675-8A2E-FA8A51EDB3C6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2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94"/>
                    <a:pt x="165598" y="218122"/>
                    <a:pt x="106680" y="218122"/>
                  </a:cubicBezTo>
                  <a:cubicBezTo>
                    <a:pt x="47762" y="218122"/>
                    <a:pt x="0" y="169294"/>
                    <a:pt x="0" y="109061"/>
                  </a:cubicBezTo>
                  <a:cubicBezTo>
                    <a:pt x="0" y="48828"/>
                    <a:pt x="47762" y="0"/>
                    <a:pt x="106680" y="0"/>
                  </a:cubicBezTo>
                  <a:cubicBezTo>
                    <a:pt x="165598" y="0"/>
                    <a:pt x="213360" y="48828"/>
                    <a:pt x="213360" y="10906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de-DE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6" name="Freihandform: Form 735">
              <a:extLst>
                <a:ext uri="{FF2B5EF4-FFF2-40B4-BE49-F238E27FC236}">
                  <a16:creationId xmlns:a16="http://schemas.microsoft.com/office/drawing/2014/main" id="{710828F3-3F19-52F4-DA98-44B420D38DAB}"/>
                </a:ext>
              </a:extLst>
            </p:cNvPr>
            <p:cNvSpPr/>
            <p:nvPr/>
          </p:nvSpPr>
          <p:spPr>
            <a:xfrm>
              <a:off x="5440393" y="4051373"/>
              <a:ext cx="179641" cy="179641"/>
            </a:xfrm>
            <a:custGeom>
              <a:avLst/>
              <a:gdLst>
                <a:gd name="connsiteX0" fmla="*/ 154972 w 179641"/>
                <a:gd name="connsiteY0" fmla="*/ 151638 h 179641"/>
                <a:gd name="connsiteX1" fmla="*/ 89821 w 179641"/>
                <a:gd name="connsiteY1" fmla="*/ 179642 h 179641"/>
                <a:gd name="connsiteX2" fmla="*/ 0 w 179641"/>
                <a:gd name="connsiteY2" fmla="*/ 89821 h 179641"/>
                <a:gd name="connsiteX3" fmla="*/ 89821 w 179641"/>
                <a:gd name="connsiteY3" fmla="*/ 0 h 179641"/>
                <a:gd name="connsiteX4" fmla="*/ 150304 w 179641"/>
                <a:gd name="connsiteY4" fmla="*/ 23432 h 179641"/>
                <a:gd name="connsiteX5" fmla="*/ 111157 w 179641"/>
                <a:gd name="connsiteY5" fmla="*/ 23432 h 179641"/>
                <a:gd name="connsiteX6" fmla="*/ 111062 w 179641"/>
                <a:gd name="connsiteY6" fmla="*/ 19050 h 179641"/>
                <a:gd name="connsiteX7" fmla="*/ 49530 w 179641"/>
                <a:gd name="connsiteY7" fmla="*/ 19050 h 179641"/>
                <a:gd name="connsiteX8" fmla="*/ 49530 w 179641"/>
                <a:gd name="connsiteY8" fmla="*/ 23432 h 179641"/>
                <a:gd name="connsiteX9" fmla="*/ 48768 w 179641"/>
                <a:gd name="connsiteY9" fmla="*/ 23432 h 179641"/>
                <a:gd name="connsiteX10" fmla="*/ 40672 w 179641"/>
                <a:gd name="connsiteY10" fmla="*/ 30480 h 179641"/>
                <a:gd name="connsiteX11" fmla="*/ 48578 w 179641"/>
                <a:gd name="connsiteY11" fmla="*/ 37243 h 179641"/>
                <a:gd name="connsiteX12" fmla="*/ 99155 w 179641"/>
                <a:gd name="connsiteY12" fmla="*/ 37243 h 179641"/>
                <a:gd name="connsiteX13" fmla="*/ 99155 w 179641"/>
                <a:gd name="connsiteY13" fmla="*/ 37338 h 179641"/>
                <a:gd name="connsiteX14" fmla="*/ 113729 w 179641"/>
                <a:gd name="connsiteY14" fmla="*/ 37243 h 179641"/>
                <a:gd name="connsiteX15" fmla="*/ 117538 w 179641"/>
                <a:gd name="connsiteY15" fmla="*/ 40100 h 179641"/>
                <a:gd name="connsiteX16" fmla="*/ 113729 w 179641"/>
                <a:gd name="connsiteY16" fmla="*/ 42577 h 179641"/>
                <a:gd name="connsiteX17" fmla="*/ 110966 w 179641"/>
                <a:gd name="connsiteY17" fmla="*/ 42577 h 179641"/>
                <a:gd name="connsiteX18" fmla="*/ 111062 w 179641"/>
                <a:gd name="connsiteY18" fmla="*/ 39053 h 179641"/>
                <a:gd name="connsiteX19" fmla="*/ 49530 w 179641"/>
                <a:gd name="connsiteY19" fmla="*/ 39053 h 179641"/>
                <a:gd name="connsiteX20" fmla="*/ 49435 w 179641"/>
                <a:gd name="connsiteY20" fmla="*/ 42577 h 179641"/>
                <a:gd name="connsiteX21" fmla="*/ 48673 w 179641"/>
                <a:gd name="connsiteY21" fmla="*/ 42577 h 179641"/>
                <a:gd name="connsiteX22" fmla="*/ 40576 w 179641"/>
                <a:gd name="connsiteY22" fmla="*/ 49625 h 179641"/>
                <a:gd name="connsiteX23" fmla="*/ 48482 w 179641"/>
                <a:gd name="connsiteY23" fmla="*/ 56388 h 179641"/>
                <a:gd name="connsiteX24" fmla="*/ 99060 w 179641"/>
                <a:gd name="connsiteY24" fmla="*/ 56388 h 179641"/>
                <a:gd name="connsiteX25" fmla="*/ 99060 w 179641"/>
                <a:gd name="connsiteY25" fmla="*/ 56483 h 179641"/>
                <a:gd name="connsiteX26" fmla="*/ 113633 w 179641"/>
                <a:gd name="connsiteY26" fmla="*/ 56388 h 179641"/>
                <a:gd name="connsiteX27" fmla="*/ 117443 w 179641"/>
                <a:gd name="connsiteY27" fmla="*/ 59246 h 179641"/>
                <a:gd name="connsiteX28" fmla="*/ 113633 w 179641"/>
                <a:gd name="connsiteY28" fmla="*/ 61722 h 179641"/>
                <a:gd name="connsiteX29" fmla="*/ 110871 w 179641"/>
                <a:gd name="connsiteY29" fmla="*/ 61722 h 179641"/>
                <a:gd name="connsiteX30" fmla="*/ 110871 w 179641"/>
                <a:gd name="connsiteY30" fmla="*/ 58484 h 179641"/>
                <a:gd name="connsiteX31" fmla="*/ 49340 w 179641"/>
                <a:gd name="connsiteY31" fmla="*/ 58484 h 179641"/>
                <a:gd name="connsiteX32" fmla="*/ 49340 w 179641"/>
                <a:gd name="connsiteY32" fmla="*/ 61722 h 179641"/>
                <a:gd name="connsiteX33" fmla="*/ 48673 w 179641"/>
                <a:gd name="connsiteY33" fmla="*/ 61722 h 179641"/>
                <a:gd name="connsiteX34" fmla="*/ 40576 w 179641"/>
                <a:gd name="connsiteY34" fmla="*/ 68771 h 179641"/>
                <a:gd name="connsiteX35" fmla="*/ 48482 w 179641"/>
                <a:gd name="connsiteY35" fmla="*/ 75533 h 179641"/>
                <a:gd name="connsiteX36" fmla="*/ 113633 w 179641"/>
                <a:gd name="connsiteY36" fmla="*/ 75533 h 179641"/>
                <a:gd name="connsiteX37" fmla="*/ 113633 w 179641"/>
                <a:gd name="connsiteY37" fmla="*/ 75438 h 179641"/>
                <a:gd name="connsiteX38" fmla="*/ 117443 w 179641"/>
                <a:gd name="connsiteY38" fmla="*/ 78296 h 179641"/>
                <a:gd name="connsiteX39" fmla="*/ 113633 w 179641"/>
                <a:gd name="connsiteY39" fmla="*/ 80772 h 179641"/>
                <a:gd name="connsiteX40" fmla="*/ 110776 w 179641"/>
                <a:gd name="connsiteY40" fmla="*/ 80772 h 179641"/>
                <a:gd name="connsiteX41" fmla="*/ 110776 w 179641"/>
                <a:gd name="connsiteY41" fmla="*/ 77438 h 179641"/>
                <a:gd name="connsiteX42" fmla="*/ 49244 w 179641"/>
                <a:gd name="connsiteY42" fmla="*/ 77438 h 179641"/>
                <a:gd name="connsiteX43" fmla="*/ 49244 w 179641"/>
                <a:gd name="connsiteY43" fmla="*/ 80772 h 179641"/>
                <a:gd name="connsiteX44" fmla="*/ 48578 w 179641"/>
                <a:gd name="connsiteY44" fmla="*/ 80772 h 179641"/>
                <a:gd name="connsiteX45" fmla="*/ 40481 w 179641"/>
                <a:gd name="connsiteY45" fmla="*/ 87821 h 179641"/>
                <a:gd name="connsiteX46" fmla="*/ 48387 w 179641"/>
                <a:gd name="connsiteY46" fmla="*/ 94583 h 179641"/>
                <a:gd name="connsiteX47" fmla="*/ 113538 w 179641"/>
                <a:gd name="connsiteY47" fmla="*/ 94583 h 179641"/>
                <a:gd name="connsiteX48" fmla="*/ 113538 w 179641"/>
                <a:gd name="connsiteY48" fmla="*/ 94488 h 179641"/>
                <a:gd name="connsiteX49" fmla="*/ 117348 w 179641"/>
                <a:gd name="connsiteY49" fmla="*/ 97346 h 179641"/>
                <a:gd name="connsiteX50" fmla="*/ 113538 w 179641"/>
                <a:gd name="connsiteY50" fmla="*/ 99822 h 179641"/>
                <a:gd name="connsiteX51" fmla="*/ 110680 w 179641"/>
                <a:gd name="connsiteY51" fmla="*/ 99822 h 179641"/>
                <a:gd name="connsiteX52" fmla="*/ 110680 w 179641"/>
                <a:gd name="connsiteY52" fmla="*/ 96488 h 179641"/>
                <a:gd name="connsiteX53" fmla="*/ 49149 w 179641"/>
                <a:gd name="connsiteY53" fmla="*/ 96488 h 179641"/>
                <a:gd name="connsiteX54" fmla="*/ 49149 w 179641"/>
                <a:gd name="connsiteY54" fmla="*/ 99822 h 179641"/>
                <a:gd name="connsiteX55" fmla="*/ 48482 w 179641"/>
                <a:gd name="connsiteY55" fmla="*/ 99822 h 179641"/>
                <a:gd name="connsiteX56" fmla="*/ 40386 w 179641"/>
                <a:gd name="connsiteY56" fmla="*/ 106871 h 179641"/>
                <a:gd name="connsiteX57" fmla="*/ 48292 w 179641"/>
                <a:gd name="connsiteY57" fmla="*/ 113633 h 179641"/>
                <a:gd name="connsiteX58" fmla="*/ 98870 w 179641"/>
                <a:gd name="connsiteY58" fmla="*/ 113633 h 179641"/>
                <a:gd name="connsiteX59" fmla="*/ 98870 w 179641"/>
                <a:gd name="connsiteY59" fmla="*/ 113633 h 179641"/>
                <a:gd name="connsiteX60" fmla="*/ 100108 w 179641"/>
                <a:gd name="connsiteY60" fmla="*/ 113633 h 179641"/>
                <a:gd name="connsiteX61" fmla="*/ 113443 w 179641"/>
                <a:gd name="connsiteY61" fmla="*/ 113633 h 179641"/>
                <a:gd name="connsiteX62" fmla="*/ 113443 w 179641"/>
                <a:gd name="connsiteY62" fmla="*/ 113538 h 179641"/>
                <a:gd name="connsiteX63" fmla="*/ 117253 w 179641"/>
                <a:gd name="connsiteY63" fmla="*/ 116396 h 179641"/>
                <a:gd name="connsiteX64" fmla="*/ 113443 w 179641"/>
                <a:gd name="connsiteY64" fmla="*/ 118872 h 179641"/>
                <a:gd name="connsiteX65" fmla="*/ 110585 w 179641"/>
                <a:gd name="connsiteY65" fmla="*/ 118872 h 179641"/>
                <a:gd name="connsiteX66" fmla="*/ 110585 w 179641"/>
                <a:gd name="connsiteY66" fmla="*/ 115443 h 179641"/>
                <a:gd name="connsiteX67" fmla="*/ 49054 w 179641"/>
                <a:gd name="connsiteY67" fmla="*/ 115443 h 179641"/>
                <a:gd name="connsiteX68" fmla="*/ 49054 w 179641"/>
                <a:gd name="connsiteY68" fmla="*/ 118872 h 179641"/>
                <a:gd name="connsiteX69" fmla="*/ 48387 w 179641"/>
                <a:gd name="connsiteY69" fmla="*/ 118872 h 179641"/>
                <a:gd name="connsiteX70" fmla="*/ 40291 w 179641"/>
                <a:gd name="connsiteY70" fmla="*/ 125921 h 179641"/>
                <a:gd name="connsiteX71" fmla="*/ 48196 w 179641"/>
                <a:gd name="connsiteY71" fmla="*/ 132683 h 179641"/>
                <a:gd name="connsiteX72" fmla="*/ 113348 w 179641"/>
                <a:gd name="connsiteY72" fmla="*/ 132683 h 179641"/>
                <a:gd name="connsiteX73" fmla="*/ 113348 w 179641"/>
                <a:gd name="connsiteY73" fmla="*/ 132588 h 179641"/>
                <a:gd name="connsiteX74" fmla="*/ 117158 w 179641"/>
                <a:gd name="connsiteY74" fmla="*/ 135446 h 179641"/>
                <a:gd name="connsiteX75" fmla="*/ 113348 w 179641"/>
                <a:gd name="connsiteY75" fmla="*/ 137922 h 179641"/>
                <a:gd name="connsiteX76" fmla="*/ 110490 w 179641"/>
                <a:gd name="connsiteY76" fmla="*/ 137922 h 179641"/>
                <a:gd name="connsiteX77" fmla="*/ 110490 w 179641"/>
                <a:gd name="connsiteY77" fmla="*/ 134588 h 179641"/>
                <a:gd name="connsiteX78" fmla="*/ 48958 w 179641"/>
                <a:gd name="connsiteY78" fmla="*/ 134588 h 179641"/>
                <a:gd name="connsiteX79" fmla="*/ 48958 w 179641"/>
                <a:gd name="connsiteY79" fmla="*/ 137922 h 179641"/>
                <a:gd name="connsiteX80" fmla="*/ 48292 w 179641"/>
                <a:gd name="connsiteY80" fmla="*/ 137922 h 179641"/>
                <a:gd name="connsiteX81" fmla="*/ 40196 w 179641"/>
                <a:gd name="connsiteY81" fmla="*/ 144971 h 179641"/>
                <a:gd name="connsiteX82" fmla="*/ 48101 w 179641"/>
                <a:gd name="connsiteY82" fmla="*/ 151733 h 179641"/>
                <a:gd name="connsiteX83" fmla="*/ 154972 w 179641"/>
                <a:gd name="connsiteY83" fmla="*/ 151733 h 179641"/>
                <a:gd name="connsiteX84" fmla="*/ 154972 w 179641"/>
                <a:gd name="connsiteY84" fmla="*/ 151638 h 179641"/>
                <a:gd name="connsiteX85" fmla="*/ 154686 w 179641"/>
                <a:gd name="connsiteY85" fmla="*/ 27813 h 179641"/>
                <a:gd name="connsiteX86" fmla="*/ 179642 w 179641"/>
                <a:gd name="connsiteY86" fmla="*/ 89821 h 179641"/>
                <a:gd name="connsiteX87" fmla="*/ 158687 w 179641"/>
                <a:gd name="connsiteY87" fmla="*/ 147352 h 179641"/>
                <a:gd name="connsiteX88" fmla="*/ 48768 w 179641"/>
                <a:gd name="connsiteY88" fmla="*/ 147352 h 179641"/>
                <a:gd name="connsiteX89" fmla="*/ 44863 w 179641"/>
                <a:gd name="connsiteY89" fmla="*/ 144780 h 179641"/>
                <a:gd name="connsiteX90" fmla="*/ 48768 w 179641"/>
                <a:gd name="connsiteY90" fmla="*/ 142113 h 179641"/>
                <a:gd name="connsiteX91" fmla="*/ 49530 w 179641"/>
                <a:gd name="connsiteY91" fmla="*/ 142113 h 179641"/>
                <a:gd name="connsiteX92" fmla="*/ 49530 w 179641"/>
                <a:gd name="connsiteY92" fmla="*/ 145447 h 179641"/>
                <a:gd name="connsiteX93" fmla="*/ 111062 w 179641"/>
                <a:gd name="connsiteY93" fmla="*/ 145447 h 179641"/>
                <a:gd name="connsiteX94" fmla="*/ 111062 w 179641"/>
                <a:gd name="connsiteY94" fmla="*/ 142113 h 179641"/>
                <a:gd name="connsiteX95" fmla="*/ 113919 w 179641"/>
                <a:gd name="connsiteY95" fmla="*/ 142113 h 179641"/>
                <a:gd name="connsiteX96" fmla="*/ 121825 w 179641"/>
                <a:gd name="connsiteY96" fmla="*/ 135255 h 179641"/>
                <a:gd name="connsiteX97" fmla="*/ 113919 w 179641"/>
                <a:gd name="connsiteY97" fmla="*/ 128302 h 179641"/>
                <a:gd name="connsiteX98" fmla="*/ 99536 w 179641"/>
                <a:gd name="connsiteY98" fmla="*/ 128302 h 179641"/>
                <a:gd name="connsiteX99" fmla="*/ 99536 w 179641"/>
                <a:gd name="connsiteY99" fmla="*/ 128397 h 179641"/>
                <a:gd name="connsiteX100" fmla="*/ 48863 w 179641"/>
                <a:gd name="connsiteY100" fmla="*/ 128397 h 179641"/>
                <a:gd name="connsiteX101" fmla="*/ 44958 w 179641"/>
                <a:gd name="connsiteY101" fmla="*/ 125825 h 179641"/>
                <a:gd name="connsiteX102" fmla="*/ 48863 w 179641"/>
                <a:gd name="connsiteY102" fmla="*/ 123158 h 179641"/>
                <a:gd name="connsiteX103" fmla="*/ 49625 w 179641"/>
                <a:gd name="connsiteY103" fmla="*/ 123158 h 179641"/>
                <a:gd name="connsiteX104" fmla="*/ 49625 w 179641"/>
                <a:gd name="connsiteY104" fmla="*/ 126397 h 179641"/>
                <a:gd name="connsiteX105" fmla="*/ 111157 w 179641"/>
                <a:gd name="connsiteY105" fmla="*/ 126397 h 179641"/>
                <a:gd name="connsiteX106" fmla="*/ 111157 w 179641"/>
                <a:gd name="connsiteY106" fmla="*/ 123158 h 179641"/>
                <a:gd name="connsiteX107" fmla="*/ 114014 w 179641"/>
                <a:gd name="connsiteY107" fmla="*/ 123158 h 179641"/>
                <a:gd name="connsiteX108" fmla="*/ 121920 w 179641"/>
                <a:gd name="connsiteY108" fmla="*/ 116300 h 179641"/>
                <a:gd name="connsiteX109" fmla="*/ 114014 w 179641"/>
                <a:gd name="connsiteY109" fmla="*/ 109347 h 179641"/>
                <a:gd name="connsiteX110" fmla="*/ 99632 w 179641"/>
                <a:gd name="connsiteY110" fmla="*/ 109347 h 179641"/>
                <a:gd name="connsiteX111" fmla="*/ 99632 w 179641"/>
                <a:gd name="connsiteY111" fmla="*/ 109347 h 179641"/>
                <a:gd name="connsiteX112" fmla="*/ 48958 w 179641"/>
                <a:gd name="connsiteY112" fmla="*/ 109347 h 179641"/>
                <a:gd name="connsiteX113" fmla="*/ 45053 w 179641"/>
                <a:gd name="connsiteY113" fmla="*/ 106775 h 179641"/>
                <a:gd name="connsiteX114" fmla="*/ 48958 w 179641"/>
                <a:gd name="connsiteY114" fmla="*/ 104108 h 179641"/>
                <a:gd name="connsiteX115" fmla="*/ 49721 w 179641"/>
                <a:gd name="connsiteY115" fmla="*/ 104108 h 179641"/>
                <a:gd name="connsiteX116" fmla="*/ 49721 w 179641"/>
                <a:gd name="connsiteY116" fmla="*/ 107442 h 179641"/>
                <a:gd name="connsiteX117" fmla="*/ 111252 w 179641"/>
                <a:gd name="connsiteY117" fmla="*/ 107442 h 179641"/>
                <a:gd name="connsiteX118" fmla="*/ 111252 w 179641"/>
                <a:gd name="connsiteY118" fmla="*/ 104108 h 179641"/>
                <a:gd name="connsiteX119" fmla="*/ 114109 w 179641"/>
                <a:gd name="connsiteY119" fmla="*/ 104108 h 179641"/>
                <a:gd name="connsiteX120" fmla="*/ 122015 w 179641"/>
                <a:gd name="connsiteY120" fmla="*/ 97250 h 179641"/>
                <a:gd name="connsiteX121" fmla="*/ 114109 w 179641"/>
                <a:gd name="connsiteY121" fmla="*/ 90297 h 179641"/>
                <a:gd name="connsiteX122" fmla="*/ 99727 w 179641"/>
                <a:gd name="connsiteY122" fmla="*/ 90297 h 179641"/>
                <a:gd name="connsiteX123" fmla="*/ 99727 w 179641"/>
                <a:gd name="connsiteY123" fmla="*/ 90392 h 179641"/>
                <a:gd name="connsiteX124" fmla="*/ 49054 w 179641"/>
                <a:gd name="connsiteY124" fmla="*/ 90392 h 179641"/>
                <a:gd name="connsiteX125" fmla="*/ 45149 w 179641"/>
                <a:gd name="connsiteY125" fmla="*/ 87821 h 179641"/>
                <a:gd name="connsiteX126" fmla="*/ 49054 w 179641"/>
                <a:gd name="connsiteY126" fmla="*/ 85154 h 179641"/>
                <a:gd name="connsiteX127" fmla="*/ 49816 w 179641"/>
                <a:gd name="connsiteY127" fmla="*/ 85154 h 179641"/>
                <a:gd name="connsiteX128" fmla="*/ 49816 w 179641"/>
                <a:gd name="connsiteY128" fmla="*/ 88583 h 179641"/>
                <a:gd name="connsiteX129" fmla="*/ 111347 w 179641"/>
                <a:gd name="connsiteY129" fmla="*/ 88583 h 179641"/>
                <a:gd name="connsiteX130" fmla="*/ 111347 w 179641"/>
                <a:gd name="connsiteY130" fmla="*/ 85154 h 179641"/>
                <a:gd name="connsiteX131" fmla="*/ 114205 w 179641"/>
                <a:gd name="connsiteY131" fmla="*/ 85154 h 179641"/>
                <a:gd name="connsiteX132" fmla="*/ 122111 w 179641"/>
                <a:gd name="connsiteY132" fmla="*/ 78296 h 179641"/>
                <a:gd name="connsiteX133" fmla="*/ 114205 w 179641"/>
                <a:gd name="connsiteY133" fmla="*/ 71342 h 179641"/>
                <a:gd name="connsiteX134" fmla="*/ 99822 w 179641"/>
                <a:gd name="connsiteY134" fmla="*/ 71342 h 179641"/>
                <a:gd name="connsiteX135" fmla="*/ 99822 w 179641"/>
                <a:gd name="connsiteY135" fmla="*/ 71342 h 179641"/>
                <a:gd name="connsiteX136" fmla="*/ 49149 w 179641"/>
                <a:gd name="connsiteY136" fmla="*/ 71342 h 179641"/>
                <a:gd name="connsiteX137" fmla="*/ 45244 w 179641"/>
                <a:gd name="connsiteY137" fmla="*/ 68771 h 179641"/>
                <a:gd name="connsiteX138" fmla="*/ 49149 w 179641"/>
                <a:gd name="connsiteY138" fmla="*/ 66104 h 179641"/>
                <a:gd name="connsiteX139" fmla="*/ 49911 w 179641"/>
                <a:gd name="connsiteY139" fmla="*/ 66104 h 179641"/>
                <a:gd name="connsiteX140" fmla="*/ 49911 w 179641"/>
                <a:gd name="connsiteY140" fmla="*/ 69342 h 179641"/>
                <a:gd name="connsiteX141" fmla="*/ 111442 w 179641"/>
                <a:gd name="connsiteY141" fmla="*/ 69342 h 179641"/>
                <a:gd name="connsiteX142" fmla="*/ 111442 w 179641"/>
                <a:gd name="connsiteY142" fmla="*/ 66104 h 179641"/>
                <a:gd name="connsiteX143" fmla="*/ 114205 w 179641"/>
                <a:gd name="connsiteY143" fmla="*/ 66104 h 179641"/>
                <a:gd name="connsiteX144" fmla="*/ 122111 w 179641"/>
                <a:gd name="connsiteY144" fmla="*/ 59246 h 179641"/>
                <a:gd name="connsiteX145" fmla="*/ 114205 w 179641"/>
                <a:gd name="connsiteY145" fmla="*/ 52292 h 179641"/>
                <a:gd name="connsiteX146" fmla="*/ 114205 w 179641"/>
                <a:gd name="connsiteY146" fmla="*/ 52197 h 179641"/>
                <a:gd name="connsiteX147" fmla="*/ 49054 w 179641"/>
                <a:gd name="connsiteY147" fmla="*/ 52197 h 179641"/>
                <a:gd name="connsiteX148" fmla="*/ 45149 w 179641"/>
                <a:gd name="connsiteY148" fmla="*/ 49625 h 179641"/>
                <a:gd name="connsiteX149" fmla="*/ 49054 w 179641"/>
                <a:gd name="connsiteY149" fmla="*/ 46958 h 179641"/>
                <a:gd name="connsiteX150" fmla="*/ 49816 w 179641"/>
                <a:gd name="connsiteY150" fmla="*/ 46958 h 179641"/>
                <a:gd name="connsiteX151" fmla="*/ 49721 w 179641"/>
                <a:gd name="connsiteY151" fmla="*/ 50387 h 179641"/>
                <a:gd name="connsiteX152" fmla="*/ 111252 w 179641"/>
                <a:gd name="connsiteY152" fmla="*/ 50387 h 179641"/>
                <a:gd name="connsiteX153" fmla="*/ 111347 w 179641"/>
                <a:gd name="connsiteY153" fmla="*/ 46958 h 179641"/>
                <a:gd name="connsiteX154" fmla="*/ 114205 w 179641"/>
                <a:gd name="connsiteY154" fmla="*/ 46958 h 179641"/>
                <a:gd name="connsiteX155" fmla="*/ 122111 w 179641"/>
                <a:gd name="connsiteY155" fmla="*/ 40100 h 179641"/>
                <a:gd name="connsiteX156" fmla="*/ 114205 w 179641"/>
                <a:gd name="connsiteY156" fmla="*/ 33147 h 179641"/>
                <a:gd name="connsiteX157" fmla="*/ 114205 w 179641"/>
                <a:gd name="connsiteY157" fmla="*/ 33052 h 179641"/>
                <a:gd name="connsiteX158" fmla="*/ 49054 w 179641"/>
                <a:gd name="connsiteY158" fmla="*/ 33052 h 179641"/>
                <a:gd name="connsiteX159" fmla="*/ 45149 w 179641"/>
                <a:gd name="connsiteY159" fmla="*/ 30480 h 179641"/>
                <a:gd name="connsiteX160" fmla="*/ 49054 w 179641"/>
                <a:gd name="connsiteY160" fmla="*/ 27813 h 179641"/>
                <a:gd name="connsiteX161" fmla="*/ 49911 w 179641"/>
                <a:gd name="connsiteY161" fmla="*/ 27813 h 179641"/>
                <a:gd name="connsiteX162" fmla="*/ 49911 w 179641"/>
                <a:gd name="connsiteY162" fmla="*/ 30956 h 179641"/>
                <a:gd name="connsiteX163" fmla="*/ 111442 w 179641"/>
                <a:gd name="connsiteY163" fmla="*/ 30956 h 179641"/>
                <a:gd name="connsiteX164" fmla="*/ 111442 w 179641"/>
                <a:gd name="connsiteY164" fmla="*/ 27813 h 179641"/>
                <a:gd name="connsiteX165" fmla="*/ 154686 w 179641"/>
                <a:gd name="connsiteY165" fmla="*/ 27813 h 179641"/>
                <a:gd name="connsiteX166" fmla="*/ 154686 w 179641"/>
                <a:gd name="connsiteY166" fmla="*/ 27813 h 179641"/>
                <a:gd name="connsiteX167" fmla="*/ 111062 w 179641"/>
                <a:gd name="connsiteY167" fmla="*/ 153543 h 179641"/>
                <a:gd name="connsiteX168" fmla="*/ 111062 w 179641"/>
                <a:gd name="connsiteY168" fmla="*/ 160592 h 179641"/>
                <a:gd name="connsiteX169" fmla="*/ 49530 w 179641"/>
                <a:gd name="connsiteY169" fmla="*/ 160592 h 179641"/>
                <a:gd name="connsiteX170" fmla="*/ 49530 w 179641"/>
                <a:gd name="connsiteY170" fmla="*/ 153543 h 179641"/>
                <a:gd name="connsiteX171" fmla="*/ 111062 w 179641"/>
                <a:gd name="connsiteY171" fmla="*/ 153543 h 179641"/>
                <a:gd name="connsiteX172" fmla="*/ 111062 w 179641"/>
                <a:gd name="connsiteY172" fmla="*/ 153543 h 17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79641" h="179641">
                  <a:moveTo>
                    <a:pt x="154972" y="151638"/>
                  </a:moveTo>
                  <a:cubicBezTo>
                    <a:pt x="138589" y="168878"/>
                    <a:pt x="115443" y="179642"/>
                    <a:pt x="89821" y="179642"/>
                  </a:cubicBezTo>
                  <a:cubicBezTo>
                    <a:pt x="40291" y="179642"/>
                    <a:pt x="0" y="139446"/>
                    <a:pt x="0" y="89821"/>
                  </a:cubicBezTo>
                  <a:cubicBezTo>
                    <a:pt x="0" y="40291"/>
                    <a:pt x="40196" y="0"/>
                    <a:pt x="89821" y="0"/>
                  </a:cubicBezTo>
                  <a:cubicBezTo>
                    <a:pt x="113062" y="0"/>
                    <a:pt x="134303" y="8858"/>
                    <a:pt x="150304" y="23432"/>
                  </a:cubicBezTo>
                  <a:lnTo>
                    <a:pt x="111157" y="23432"/>
                  </a:lnTo>
                  <a:lnTo>
                    <a:pt x="111062" y="19050"/>
                  </a:lnTo>
                  <a:lnTo>
                    <a:pt x="49530" y="19050"/>
                  </a:lnTo>
                  <a:lnTo>
                    <a:pt x="49530" y="23432"/>
                  </a:lnTo>
                  <a:lnTo>
                    <a:pt x="48768" y="23432"/>
                  </a:lnTo>
                  <a:cubicBezTo>
                    <a:pt x="48768" y="23432"/>
                    <a:pt x="40672" y="23432"/>
                    <a:pt x="40672" y="30480"/>
                  </a:cubicBezTo>
                  <a:cubicBezTo>
                    <a:pt x="40672" y="37243"/>
                    <a:pt x="48578" y="37243"/>
                    <a:pt x="48578" y="37243"/>
                  </a:cubicBezTo>
                  <a:lnTo>
                    <a:pt x="99155" y="37243"/>
                  </a:lnTo>
                  <a:lnTo>
                    <a:pt x="99155" y="37338"/>
                  </a:lnTo>
                  <a:lnTo>
                    <a:pt x="113729" y="37243"/>
                  </a:lnTo>
                  <a:cubicBezTo>
                    <a:pt x="113729" y="37243"/>
                    <a:pt x="117538" y="37243"/>
                    <a:pt x="117538" y="40100"/>
                  </a:cubicBezTo>
                  <a:cubicBezTo>
                    <a:pt x="117538" y="42958"/>
                    <a:pt x="113729" y="42577"/>
                    <a:pt x="113729" y="42577"/>
                  </a:cubicBezTo>
                  <a:lnTo>
                    <a:pt x="110966" y="42577"/>
                  </a:lnTo>
                  <a:lnTo>
                    <a:pt x="111062" y="39053"/>
                  </a:lnTo>
                  <a:lnTo>
                    <a:pt x="49530" y="39053"/>
                  </a:lnTo>
                  <a:lnTo>
                    <a:pt x="49435" y="42577"/>
                  </a:lnTo>
                  <a:lnTo>
                    <a:pt x="48673" y="42577"/>
                  </a:lnTo>
                  <a:cubicBezTo>
                    <a:pt x="48673" y="42577"/>
                    <a:pt x="40576" y="42577"/>
                    <a:pt x="40576" y="49625"/>
                  </a:cubicBezTo>
                  <a:cubicBezTo>
                    <a:pt x="40576" y="56388"/>
                    <a:pt x="48482" y="56388"/>
                    <a:pt x="48482" y="56388"/>
                  </a:cubicBezTo>
                  <a:lnTo>
                    <a:pt x="99060" y="56388"/>
                  </a:lnTo>
                  <a:lnTo>
                    <a:pt x="99060" y="56483"/>
                  </a:lnTo>
                  <a:lnTo>
                    <a:pt x="113633" y="56388"/>
                  </a:lnTo>
                  <a:cubicBezTo>
                    <a:pt x="113633" y="56388"/>
                    <a:pt x="117443" y="56388"/>
                    <a:pt x="117443" y="59246"/>
                  </a:cubicBezTo>
                  <a:cubicBezTo>
                    <a:pt x="117443" y="62103"/>
                    <a:pt x="113633" y="61722"/>
                    <a:pt x="113633" y="61722"/>
                  </a:cubicBezTo>
                  <a:lnTo>
                    <a:pt x="110871" y="61722"/>
                  </a:lnTo>
                  <a:lnTo>
                    <a:pt x="110871" y="58484"/>
                  </a:lnTo>
                  <a:lnTo>
                    <a:pt x="49340" y="58484"/>
                  </a:lnTo>
                  <a:lnTo>
                    <a:pt x="49340" y="61722"/>
                  </a:lnTo>
                  <a:lnTo>
                    <a:pt x="48673" y="61722"/>
                  </a:lnTo>
                  <a:cubicBezTo>
                    <a:pt x="48673" y="61722"/>
                    <a:pt x="40576" y="61722"/>
                    <a:pt x="40576" y="68771"/>
                  </a:cubicBezTo>
                  <a:cubicBezTo>
                    <a:pt x="40576" y="75533"/>
                    <a:pt x="48482" y="75533"/>
                    <a:pt x="48482" y="75533"/>
                  </a:cubicBezTo>
                  <a:lnTo>
                    <a:pt x="113633" y="75533"/>
                  </a:lnTo>
                  <a:lnTo>
                    <a:pt x="113633" y="75438"/>
                  </a:lnTo>
                  <a:cubicBezTo>
                    <a:pt x="113633" y="75438"/>
                    <a:pt x="117443" y="75438"/>
                    <a:pt x="117443" y="78296"/>
                  </a:cubicBezTo>
                  <a:cubicBezTo>
                    <a:pt x="117443" y="81153"/>
                    <a:pt x="113633" y="80772"/>
                    <a:pt x="113633" y="80772"/>
                  </a:cubicBezTo>
                  <a:lnTo>
                    <a:pt x="110776" y="80772"/>
                  </a:lnTo>
                  <a:lnTo>
                    <a:pt x="110776" y="77438"/>
                  </a:lnTo>
                  <a:lnTo>
                    <a:pt x="49244" y="77438"/>
                  </a:lnTo>
                  <a:lnTo>
                    <a:pt x="49244" y="80772"/>
                  </a:lnTo>
                  <a:lnTo>
                    <a:pt x="48578" y="80772"/>
                  </a:lnTo>
                  <a:cubicBezTo>
                    <a:pt x="48578" y="80772"/>
                    <a:pt x="40481" y="80772"/>
                    <a:pt x="40481" y="87821"/>
                  </a:cubicBezTo>
                  <a:cubicBezTo>
                    <a:pt x="40481" y="94583"/>
                    <a:pt x="48387" y="94583"/>
                    <a:pt x="48387" y="94583"/>
                  </a:cubicBezTo>
                  <a:lnTo>
                    <a:pt x="113538" y="94583"/>
                  </a:lnTo>
                  <a:lnTo>
                    <a:pt x="113538" y="94488"/>
                  </a:lnTo>
                  <a:cubicBezTo>
                    <a:pt x="113538" y="94488"/>
                    <a:pt x="117348" y="94488"/>
                    <a:pt x="117348" y="97346"/>
                  </a:cubicBezTo>
                  <a:cubicBezTo>
                    <a:pt x="117348" y="100203"/>
                    <a:pt x="113538" y="99822"/>
                    <a:pt x="113538" y="99822"/>
                  </a:cubicBezTo>
                  <a:lnTo>
                    <a:pt x="110680" y="99822"/>
                  </a:lnTo>
                  <a:lnTo>
                    <a:pt x="110680" y="96488"/>
                  </a:lnTo>
                  <a:lnTo>
                    <a:pt x="49149" y="96488"/>
                  </a:lnTo>
                  <a:lnTo>
                    <a:pt x="49149" y="99822"/>
                  </a:lnTo>
                  <a:lnTo>
                    <a:pt x="48482" y="99822"/>
                  </a:lnTo>
                  <a:cubicBezTo>
                    <a:pt x="48482" y="99822"/>
                    <a:pt x="40386" y="99822"/>
                    <a:pt x="40386" y="106871"/>
                  </a:cubicBezTo>
                  <a:cubicBezTo>
                    <a:pt x="40386" y="113633"/>
                    <a:pt x="48292" y="113633"/>
                    <a:pt x="48292" y="113633"/>
                  </a:cubicBezTo>
                  <a:lnTo>
                    <a:pt x="98870" y="113633"/>
                  </a:lnTo>
                  <a:lnTo>
                    <a:pt x="98870" y="113633"/>
                  </a:lnTo>
                  <a:lnTo>
                    <a:pt x="100108" y="113633"/>
                  </a:lnTo>
                  <a:lnTo>
                    <a:pt x="113443" y="113633"/>
                  </a:lnTo>
                  <a:lnTo>
                    <a:pt x="113443" y="113538"/>
                  </a:lnTo>
                  <a:cubicBezTo>
                    <a:pt x="113443" y="113538"/>
                    <a:pt x="117253" y="113538"/>
                    <a:pt x="117253" y="116396"/>
                  </a:cubicBezTo>
                  <a:cubicBezTo>
                    <a:pt x="117253" y="119253"/>
                    <a:pt x="113443" y="118872"/>
                    <a:pt x="113443" y="118872"/>
                  </a:cubicBezTo>
                  <a:lnTo>
                    <a:pt x="110585" y="118872"/>
                  </a:lnTo>
                  <a:lnTo>
                    <a:pt x="110585" y="115443"/>
                  </a:lnTo>
                  <a:lnTo>
                    <a:pt x="49054" y="115443"/>
                  </a:lnTo>
                  <a:lnTo>
                    <a:pt x="49054" y="118872"/>
                  </a:lnTo>
                  <a:lnTo>
                    <a:pt x="48387" y="118872"/>
                  </a:lnTo>
                  <a:cubicBezTo>
                    <a:pt x="48387" y="118872"/>
                    <a:pt x="40291" y="118872"/>
                    <a:pt x="40291" y="125921"/>
                  </a:cubicBezTo>
                  <a:cubicBezTo>
                    <a:pt x="40291" y="132683"/>
                    <a:pt x="48196" y="132683"/>
                    <a:pt x="48196" y="132683"/>
                  </a:cubicBezTo>
                  <a:lnTo>
                    <a:pt x="113348" y="132683"/>
                  </a:lnTo>
                  <a:lnTo>
                    <a:pt x="113348" y="132588"/>
                  </a:lnTo>
                  <a:cubicBezTo>
                    <a:pt x="113348" y="132588"/>
                    <a:pt x="117158" y="132588"/>
                    <a:pt x="117158" y="135446"/>
                  </a:cubicBezTo>
                  <a:cubicBezTo>
                    <a:pt x="117158" y="138303"/>
                    <a:pt x="113348" y="137922"/>
                    <a:pt x="113348" y="137922"/>
                  </a:cubicBezTo>
                  <a:lnTo>
                    <a:pt x="110490" y="137922"/>
                  </a:lnTo>
                  <a:lnTo>
                    <a:pt x="110490" y="134588"/>
                  </a:lnTo>
                  <a:lnTo>
                    <a:pt x="48958" y="134588"/>
                  </a:lnTo>
                  <a:lnTo>
                    <a:pt x="48958" y="137922"/>
                  </a:lnTo>
                  <a:lnTo>
                    <a:pt x="48292" y="137922"/>
                  </a:lnTo>
                  <a:cubicBezTo>
                    <a:pt x="48292" y="137922"/>
                    <a:pt x="40196" y="137922"/>
                    <a:pt x="40196" y="144971"/>
                  </a:cubicBezTo>
                  <a:cubicBezTo>
                    <a:pt x="40196" y="151733"/>
                    <a:pt x="48101" y="151733"/>
                    <a:pt x="48101" y="151733"/>
                  </a:cubicBezTo>
                  <a:lnTo>
                    <a:pt x="154972" y="151733"/>
                  </a:lnTo>
                  <a:lnTo>
                    <a:pt x="154972" y="151638"/>
                  </a:lnTo>
                  <a:close/>
                  <a:moveTo>
                    <a:pt x="154686" y="27813"/>
                  </a:moveTo>
                  <a:cubicBezTo>
                    <a:pt x="170117" y="43910"/>
                    <a:pt x="179642" y="65818"/>
                    <a:pt x="179642" y="89821"/>
                  </a:cubicBezTo>
                  <a:cubicBezTo>
                    <a:pt x="179642" y="111728"/>
                    <a:pt x="171736" y="131826"/>
                    <a:pt x="158687" y="147352"/>
                  </a:cubicBezTo>
                  <a:lnTo>
                    <a:pt x="48768" y="147352"/>
                  </a:lnTo>
                  <a:cubicBezTo>
                    <a:pt x="48768" y="147352"/>
                    <a:pt x="44958" y="147447"/>
                    <a:pt x="44863" y="144780"/>
                  </a:cubicBezTo>
                  <a:cubicBezTo>
                    <a:pt x="44767" y="142018"/>
                    <a:pt x="48768" y="142113"/>
                    <a:pt x="48768" y="142113"/>
                  </a:cubicBezTo>
                  <a:lnTo>
                    <a:pt x="49530" y="142113"/>
                  </a:lnTo>
                  <a:lnTo>
                    <a:pt x="49530" y="145447"/>
                  </a:lnTo>
                  <a:lnTo>
                    <a:pt x="111062" y="145447"/>
                  </a:lnTo>
                  <a:lnTo>
                    <a:pt x="111062" y="142113"/>
                  </a:lnTo>
                  <a:lnTo>
                    <a:pt x="113919" y="142113"/>
                  </a:lnTo>
                  <a:cubicBezTo>
                    <a:pt x="113919" y="142113"/>
                    <a:pt x="121825" y="142113"/>
                    <a:pt x="121825" y="135255"/>
                  </a:cubicBezTo>
                  <a:cubicBezTo>
                    <a:pt x="121825" y="128302"/>
                    <a:pt x="113919" y="128302"/>
                    <a:pt x="113919" y="128302"/>
                  </a:cubicBezTo>
                  <a:lnTo>
                    <a:pt x="99536" y="128302"/>
                  </a:lnTo>
                  <a:lnTo>
                    <a:pt x="99536" y="128397"/>
                  </a:lnTo>
                  <a:lnTo>
                    <a:pt x="48863" y="128397"/>
                  </a:lnTo>
                  <a:cubicBezTo>
                    <a:pt x="48863" y="128397"/>
                    <a:pt x="45053" y="128492"/>
                    <a:pt x="44958" y="125825"/>
                  </a:cubicBezTo>
                  <a:cubicBezTo>
                    <a:pt x="44863" y="123063"/>
                    <a:pt x="48863" y="123158"/>
                    <a:pt x="48863" y="123158"/>
                  </a:cubicBezTo>
                  <a:lnTo>
                    <a:pt x="49625" y="123158"/>
                  </a:lnTo>
                  <a:lnTo>
                    <a:pt x="49625" y="126397"/>
                  </a:lnTo>
                  <a:lnTo>
                    <a:pt x="111157" y="126397"/>
                  </a:lnTo>
                  <a:lnTo>
                    <a:pt x="111157" y="123158"/>
                  </a:lnTo>
                  <a:lnTo>
                    <a:pt x="114014" y="123158"/>
                  </a:lnTo>
                  <a:cubicBezTo>
                    <a:pt x="114014" y="123158"/>
                    <a:pt x="121920" y="123158"/>
                    <a:pt x="121920" y="116300"/>
                  </a:cubicBezTo>
                  <a:cubicBezTo>
                    <a:pt x="121920" y="109347"/>
                    <a:pt x="114014" y="109347"/>
                    <a:pt x="114014" y="109347"/>
                  </a:cubicBezTo>
                  <a:lnTo>
                    <a:pt x="99632" y="109347"/>
                  </a:lnTo>
                  <a:lnTo>
                    <a:pt x="99632" y="109347"/>
                  </a:lnTo>
                  <a:lnTo>
                    <a:pt x="48958" y="109347"/>
                  </a:lnTo>
                  <a:cubicBezTo>
                    <a:pt x="48958" y="109347"/>
                    <a:pt x="45149" y="109442"/>
                    <a:pt x="45053" y="106775"/>
                  </a:cubicBezTo>
                  <a:cubicBezTo>
                    <a:pt x="44958" y="104013"/>
                    <a:pt x="48958" y="104108"/>
                    <a:pt x="48958" y="104108"/>
                  </a:cubicBezTo>
                  <a:lnTo>
                    <a:pt x="49721" y="104108"/>
                  </a:lnTo>
                  <a:lnTo>
                    <a:pt x="49721" y="107442"/>
                  </a:lnTo>
                  <a:lnTo>
                    <a:pt x="111252" y="107442"/>
                  </a:lnTo>
                  <a:lnTo>
                    <a:pt x="111252" y="104108"/>
                  </a:lnTo>
                  <a:lnTo>
                    <a:pt x="114109" y="104108"/>
                  </a:lnTo>
                  <a:cubicBezTo>
                    <a:pt x="114109" y="104108"/>
                    <a:pt x="122015" y="104108"/>
                    <a:pt x="122015" y="97250"/>
                  </a:cubicBezTo>
                  <a:cubicBezTo>
                    <a:pt x="122015" y="90297"/>
                    <a:pt x="114109" y="90297"/>
                    <a:pt x="114109" y="90297"/>
                  </a:cubicBezTo>
                  <a:lnTo>
                    <a:pt x="99727" y="90297"/>
                  </a:lnTo>
                  <a:lnTo>
                    <a:pt x="99727" y="90392"/>
                  </a:lnTo>
                  <a:lnTo>
                    <a:pt x="49054" y="90392"/>
                  </a:lnTo>
                  <a:cubicBezTo>
                    <a:pt x="49054" y="90392"/>
                    <a:pt x="45244" y="90488"/>
                    <a:pt x="45149" y="87821"/>
                  </a:cubicBezTo>
                  <a:cubicBezTo>
                    <a:pt x="45053" y="85058"/>
                    <a:pt x="49054" y="85154"/>
                    <a:pt x="49054" y="85154"/>
                  </a:cubicBezTo>
                  <a:lnTo>
                    <a:pt x="49816" y="85154"/>
                  </a:lnTo>
                  <a:lnTo>
                    <a:pt x="49816" y="88583"/>
                  </a:lnTo>
                  <a:lnTo>
                    <a:pt x="111347" y="88583"/>
                  </a:lnTo>
                  <a:lnTo>
                    <a:pt x="111347" y="85154"/>
                  </a:lnTo>
                  <a:lnTo>
                    <a:pt x="114205" y="85154"/>
                  </a:lnTo>
                  <a:cubicBezTo>
                    <a:pt x="114205" y="85154"/>
                    <a:pt x="122111" y="85154"/>
                    <a:pt x="122111" y="78296"/>
                  </a:cubicBezTo>
                  <a:cubicBezTo>
                    <a:pt x="122111" y="71342"/>
                    <a:pt x="114205" y="71342"/>
                    <a:pt x="114205" y="71342"/>
                  </a:cubicBezTo>
                  <a:lnTo>
                    <a:pt x="99822" y="71342"/>
                  </a:lnTo>
                  <a:lnTo>
                    <a:pt x="99822" y="71342"/>
                  </a:lnTo>
                  <a:lnTo>
                    <a:pt x="49149" y="71342"/>
                  </a:lnTo>
                  <a:cubicBezTo>
                    <a:pt x="49149" y="71342"/>
                    <a:pt x="45339" y="71438"/>
                    <a:pt x="45244" y="68771"/>
                  </a:cubicBezTo>
                  <a:cubicBezTo>
                    <a:pt x="45149" y="66008"/>
                    <a:pt x="49149" y="66104"/>
                    <a:pt x="49149" y="66104"/>
                  </a:cubicBezTo>
                  <a:lnTo>
                    <a:pt x="49911" y="66104"/>
                  </a:lnTo>
                  <a:lnTo>
                    <a:pt x="49911" y="69342"/>
                  </a:lnTo>
                  <a:lnTo>
                    <a:pt x="111442" y="69342"/>
                  </a:lnTo>
                  <a:lnTo>
                    <a:pt x="111442" y="66104"/>
                  </a:lnTo>
                  <a:lnTo>
                    <a:pt x="114205" y="66104"/>
                  </a:lnTo>
                  <a:cubicBezTo>
                    <a:pt x="114205" y="66104"/>
                    <a:pt x="122111" y="66104"/>
                    <a:pt x="122111" y="59246"/>
                  </a:cubicBezTo>
                  <a:cubicBezTo>
                    <a:pt x="122111" y="52578"/>
                    <a:pt x="114871" y="52292"/>
                    <a:pt x="114205" y="52292"/>
                  </a:cubicBezTo>
                  <a:lnTo>
                    <a:pt x="114205" y="52197"/>
                  </a:lnTo>
                  <a:lnTo>
                    <a:pt x="49054" y="52197"/>
                  </a:lnTo>
                  <a:cubicBezTo>
                    <a:pt x="49054" y="52197"/>
                    <a:pt x="45244" y="52292"/>
                    <a:pt x="45149" y="49625"/>
                  </a:cubicBezTo>
                  <a:cubicBezTo>
                    <a:pt x="45053" y="46863"/>
                    <a:pt x="49054" y="46958"/>
                    <a:pt x="49054" y="46958"/>
                  </a:cubicBezTo>
                  <a:lnTo>
                    <a:pt x="49816" y="46958"/>
                  </a:lnTo>
                  <a:lnTo>
                    <a:pt x="49721" y="50387"/>
                  </a:lnTo>
                  <a:lnTo>
                    <a:pt x="111252" y="50387"/>
                  </a:lnTo>
                  <a:lnTo>
                    <a:pt x="111347" y="46958"/>
                  </a:lnTo>
                  <a:lnTo>
                    <a:pt x="114205" y="46958"/>
                  </a:lnTo>
                  <a:cubicBezTo>
                    <a:pt x="114205" y="46958"/>
                    <a:pt x="122111" y="46958"/>
                    <a:pt x="122111" y="40100"/>
                  </a:cubicBezTo>
                  <a:cubicBezTo>
                    <a:pt x="122111" y="33433"/>
                    <a:pt x="114871" y="33147"/>
                    <a:pt x="114205" y="33147"/>
                  </a:cubicBezTo>
                  <a:lnTo>
                    <a:pt x="114205" y="33052"/>
                  </a:lnTo>
                  <a:lnTo>
                    <a:pt x="49054" y="33052"/>
                  </a:lnTo>
                  <a:cubicBezTo>
                    <a:pt x="49054" y="33052"/>
                    <a:pt x="45244" y="33147"/>
                    <a:pt x="45149" y="30480"/>
                  </a:cubicBezTo>
                  <a:cubicBezTo>
                    <a:pt x="45053" y="27718"/>
                    <a:pt x="49054" y="27813"/>
                    <a:pt x="49054" y="27813"/>
                  </a:cubicBezTo>
                  <a:lnTo>
                    <a:pt x="49911" y="27813"/>
                  </a:lnTo>
                  <a:lnTo>
                    <a:pt x="49911" y="30956"/>
                  </a:lnTo>
                  <a:lnTo>
                    <a:pt x="111442" y="30956"/>
                  </a:lnTo>
                  <a:lnTo>
                    <a:pt x="111442" y="27813"/>
                  </a:lnTo>
                  <a:lnTo>
                    <a:pt x="154686" y="27813"/>
                  </a:lnTo>
                  <a:lnTo>
                    <a:pt x="154686" y="27813"/>
                  </a:lnTo>
                  <a:close/>
                  <a:moveTo>
                    <a:pt x="111062" y="153543"/>
                  </a:moveTo>
                  <a:lnTo>
                    <a:pt x="111062" y="160592"/>
                  </a:lnTo>
                  <a:lnTo>
                    <a:pt x="49530" y="160592"/>
                  </a:lnTo>
                  <a:lnTo>
                    <a:pt x="49530" y="153543"/>
                  </a:lnTo>
                  <a:lnTo>
                    <a:pt x="111062" y="153543"/>
                  </a:lnTo>
                  <a:lnTo>
                    <a:pt x="111062" y="153543"/>
                  </a:lnTo>
                  <a:close/>
                </a:path>
              </a:pathLst>
            </a:custGeom>
            <a:solidFill>
              <a:srgbClr val="CF892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de-DE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8" name="Freihandform: Form 737">
              <a:extLst>
                <a:ext uri="{FF2B5EF4-FFF2-40B4-BE49-F238E27FC236}">
                  <a16:creationId xmlns:a16="http://schemas.microsoft.com/office/drawing/2014/main" id="{7F004E9D-B4FE-F7D9-565E-EC237F79FE8C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3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  <a:gd name="connsiteX5" fmla="*/ 213360 w 213359"/>
                <a:gd name="connsiteY5" fmla="*/ 109061 h 218122"/>
                <a:gd name="connsiteX6" fmla="*/ 201073 w 213359"/>
                <a:gd name="connsiteY6" fmla="*/ 109061 h 218122"/>
                <a:gd name="connsiteX7" fmla="*/ 106585 w 213359"/>
                <a:gd name="connsiteY7" fmla="*/ 202787 h 218122"/>
                <a:gd name="connsiteX8" fmla="*/ 12097 w 213359"/>
                <a:gd name="connsiteY8" fmla="*/ 109061 h 218122"/>
                <a:gd name="connsiteX9" fmla="*/ 106585 w 213359"/>
                <a:gd name="connsiteY9" fmla="*/ 15335 h 218122"/>
                <a:gd name="connsiteX10" fmla="*/ 201073 w 213359"/>
                <a:gd name="connsiteY10" fmla="*/ 109061 h 218122"/>
                <a:gd name="connsiteX11" fmla="*/ 201073 w 213359"/>
                <a:gd name="connsiteY11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59"/>
                    <a:pt x="165544" y="218123"/>
                    <a:pt x="106680" y="218123"/>
                  </a:cubicBezTo>
                  <a:cubicBezTo>
                    <a:pt x="47815" y="218123"/>
                    <a:pt x="0" y="169259"/>
                    <a:pt x="0" y="109061"/>
                  </a:cubicBezTo>
                  <a:cubicBezTo>
                    <a:pt x="0" y="48863"/>
                    <a:pt x="47815" y="0"/>
                    <a:pt x="106680" y="0"/>
                  </a:cubicBezTo>
                  <a:cubicBezTo>
                    <a:pt x="165544" y="0"/>
                    <a:pt x="213360" y="48863"/>
                    <a:pt x="213360" y="109061"/>
                  </a:cubicBezTo>
                  <a:lnTo>
                    <a:pt x="213360" y="109061"/>
                  </a:lnTo>
                  <a:close/>
                  <a:moveTo>
                    <a:pt x="201073" y="109061"/>
                  </a:moveTo>
                  <a:cubicBezTo>
                    <a:pt x="201073" y="160782"/>
                    <a:pt x="158782" y="202787"/>
                    <a:pt x="106585" y="202787"/>
                  </a:cubicBezTo>
                  <a:cubicBezTo>
                    <a:pt x="54388" y="202787"/>
                    <a:pt x="12097" y="160782"/>
                    <a:pt x="12097" y="109061"/>
                  </a:cubicBezTo>
                  <a:cubicBezTo>
                    <a:pt x="12097" y="57341"/>
                    <a:pt x="54388" y="15335"/>
                    <a:pt x="106585" y="15335"/>
                  </a:cubicBezTo>
                  <a:cubicBezTo>
                    <a:pt x="158782" y="15335"/>
                    <a:pt x="201073" y="57245"/>
                    <a:pt x="201073" y="109061"/>
                  </a:cubicBezTo>
                  <a:lnTo>
                    <a:pt x="201073" y="10906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de-DE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739" name="Gruppieren 738">
            <a:extLst>
              <a:ext uri="{FF2B5EF4-FFF2-40B4-BE49-F238E27FC236}">
                <a16:creationId xmlns:a16="http://schemas.microsoft.com/office/drawing/2014/main" id="{BB886B16-ED09-5AB2-8F95-09D04ABE7EB8}"/>
              </a:ext>
            </a:extLst>
          </p:cNvPr>
          <p:cNvGrpSpPr/>
          <p:nvPr/>
        </p:nvGrpSpPr>
        <p:grpSpPr>
          <a:xfrm>
            <a:off x="1809460" y="3744729"/>
            <a:ext cx="170941" cy="187050"/>
            <a:chOff x="5045632" y="2780143"/>
            <a:chExt cx="136316" cy="149161"/>
          </a:xfrm>
        </p:grpSpPr>
        <p:sp>
          <p:nvSpPr>
            <p:cNvPr id="740" name="Freihandform: Form 739">
              <a:extLst>
                <a:ext uri="{FF2B5EF4-FFF2-40B4-BE49-F238E27FC236}">
                  <a16:creationId xmlns:a16="http://schemas.microsoft.com/office/drawing/2014/main" id="{CDB2B9A4-28E0-B47C-4BA8-6ECFAB81AB64}"/>
                </a:ext>
              </a:extLst>
            </p:cNvPr>
            <p:cNvSpPr/>
            <p:nvPr/>
          </p:nvSpPr>
          <p:spPr>
            <a:xfrm>
              <a:off x="5045632" y="2814433"/>
              <a:ext cx="87820" cy="87820"/>
            </a:xfrm>
            <a:custGeom>
              <a:avLst/>
              <a:gdLst>
                <a:gd name="connsiteX0" fmla="*/ 87821 w 87820"/>
                <a:gd name="connsiteY0" fmla="*/ 43910 h 87820"/>
                <a:gd name="connsiteX1" fmla="*/ 43910 w 87820"/>
                <a:gd name="connsiteY1" fmla="*/ 87820 h 87820"/>
                <a:gd name="connsiteX2" fmla="*/ 0 w 87820"/>
                <a:gd name="connsiteY2" fmla="*/ 43910 h 87820"/>
                <a:gd name="connsiteX3" fmla="*/ 43910 w 87820"/>
                <a:gd name="connsiteY3" fmla="*/ 0 h 87820"/>
                <a:gd name="connsiteX4" fmla="*/ 87821 w 87820"/>
                <a:gd name="connsiteY4" fmla="*/ 43910 h 87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820" h="87820">
                  <a:moveTo>
                    <a:pt x="87821" y="43910"/>
                  </a:moveTo>
                  <a:cubicBezTo>
                    <a:pt x="87821" y="68161"/>
                    <a:pt x="68161" y="87820"/>
                    <a:pt x="43910" y="87820"/>
                  </a:cubicBezTo>
                  <a:cubicBezTo>
                    <a:pt x="19659" y="87820"/>
                    <a:pt x="0" y="68161"/>
                    <a:pt x="0" y="43910"/>
                  </a:cubicBezTo>
                  <a:cubicBezTo>
                    <a:pt x="0" y="19659"/>
                    <a:pt x="19659" y="0"/>
                    <a:pt x="43910" y="0"/>
                  </a:cubicBezTo>
                  <a:cubicBezTo>
                    <a:pt x="68161" y="0"/>
                    <a:pt x="87821" y="19659"/>
                    <a:pt x="87821" y="43910"/>
                  </a:cubicBez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1" name="Freihandform: Form 740">
              <a:extLst>
                <a:ext uri="{FF2B5EF4-FFF2-40B4-BE49-F238E27FC236}">
                  <a16:creationId xmlns:a16="http://schemas.microsoft.com/office/drawing/2014/main" id="{D0364EE6-C9F6-9F7A-CAFB-9ACCE2DDFC3B}"/>
                </a:ext>
              </a:extLst>
            </p:cNvPr>
            <p:cNvSpPr/>
            <p:nvPr/>
          </p:nvSpPr>
          <p:spPr>
            <a:xfrm>
              <a:off x="5056109" y="2807194"/>
              <a:ext cx="66865" cy="43910"/>
            </a:xfrm>
            <a:custGeom>
              <a:avLst/>
              <a:gdLst>
                <a:gd name="connsiteX0" fmla="*/ 48101 w 66865"/>
                <a:gd name="connsiteY0" fmla="*/ 43910 h 43910"/>
                <a:gd name="connsiteX1" fmla="*/ 19241 w 66865"/>
                <a:gd name="connsiteY1" fmla="*/ 43910 h 43910"/>
                <a:gd name="connsiteX2" fmla="*/ 0 w 66865"/>
                <a:gd name="connsiteY2" fmla="*/ 0 h 43910"/>
                <a:gd name="connsiteX3" fmla="*/ 66866 w 66865"/>
                <a:gd name="connsiteY3" fmla="*/ 0 h 4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65" h="43910">
                  <a:moveTo>
                    <a:pt x="48101" y="43910"/>
                  </a:moveTo>
                  <a:lnTo>
                    <a:pt x="19241" y="43910"/>
                  </a:lnTo>
                  <a:lnTo>
                    <a:pt x="0" y="0"/>
                  </a:lnTo>
                  <a:lnTo>
                    <a:pt x="66866" y="0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3" name="Freihandform: Form 742">
              <a:extLst>
                <a:ext uri="{FF2B5EF4-FFF2-40B4-BE49-F238E27FC236}">
                  <a16:creationId xmlns:a16="http://schemas.microsoft.com/office/drawing/2014/main" id="{97251FE2-A5B3-4B79-5620-2D1735C82DB7}"/>
                </a:ext>
              </a:extLst>
            </p:cNvPr>
            <p:cNvSpPr/>
            <p:nvPr/>
          </p:nvSpPr>
          <p:spPr>
            <a:xfrm>
              <a:off x="5056109" y="2860724"/>
              <a:ext cx="66865" cy="47053"/>
            </a:xfrm>
            <a:custGeom>
              <a:avLst/>
              <a:gdLst>
                <a:gd name="connsiteX0" fmla="*/ 18764 w 66865"/>
                <a:gd name="connsiteY0" fmla="*/ 0 h 47053"/>
                <a:gd name="connsiteX1" fmla="*/ 47530 w 66865"/>
                <a:gd name="connsiteY1" fmla="*/ 0 h 47053"/>
                <a:gd name="connsiteX2" fmla="*/ 66866 w 66865"/>
                <a:gd name="connsiteY2" fmla="*/ 47054 h 47053"/>
                <a:gd name="connsiteX3" fmla="*/ 0 w 66865"/>
                <a:gd name="connsiteY3" fmla="*/ 47054 h 4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65" h="47053">
                  <a:moveTo>
                    <a:pt x="18764" y="0"/>
                  </a:moveTo>
                  <a:lnTo>
                    <a:pt x="47530" y="0"/>
                  </a:lnTo>
                  <a:lnTo>
                    <a:pt x="66866" y="47054"/>
                  </a:lnTo>
                  <a:lnTo>
                    <a:pt x="0" y="47054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4" name="Freihandform: Form 743">
              <a:extLst>
                <a:ext uri="{FF2B5EF4-FFF2-40B4-BE49-F238E27FC236}">
                  <a16:creationId xmlns:a16="http://schemas.microsoft.com/office/drawing/2014/main" id="{49F5C378-CA9C-8E08-8004-CD31CE014239}"/>
                </a:ext>
              </a:extLst>
            </p:cNvPr>
            <p:cNvSpPr/>
            <p:nvPr/>
          </p:nvSpPr>
          <p:spPr>
            <a:xfrm>
              <a:off x="5050585" y="2780143"/>
              <a:ext cx="77819" cy="27051"/>
            </a:xfrm>
            <a:custGeom>
              <a:avLst/>
              <a:gdLst>
                <a:gd name="connsiteX0" fmla="*/ 0 w 77819"/>
                <a:gd name="connsiteY0" fmla="*/ 0 h 27051"/>
                <a:gd name="connsiteX1" fmla="*/ 77819 w 77819"/>
                <a:gd name="connsiteY1" fmla="*/ 0 h 27051"/>
                <a:gd name="connsiteX2" fmla="*/ 77819 w 77819"/>
                <a:gd name="connsiteY2" fmla="*/ 27051 h 27051"/>
                <a:gd name="connsiteX3" fmla="*/ 0 w 77819"/>
                <a:gd name="connsiteY3" fmla="*/ 27051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9" h="27051">
                  <a:moveTo>
                    <a:pt x="0" y="0"/>
                  </a:moveTo>
                  <a:lnTo>
                    <a:pt x="77819" y="0"/>
                  </a:lnTo>
                  <a:lnTo>
                    <a:pt x="77819" y="27051"/>
                  </a:lnTo>
                  <a:lnTo>
                    <a:pt x="0" y="2705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89" name="Freihandform: Form 888">
              <a:extLst>
                <a:ext uri="{FF2B5EF4-FFF2-40B4-BE49-F238E27FC236}">
                  <a16:creationId xmlns:a16="http://schemas.microsoft.com/office/drawing/2014/main" id="{206BCB7B-2DD7-7D99-3323-8387EBF93577}"/>
                </a:ext>
              </a:extLst>
            </p:cNvPr>
            <p:cNvSpPr/>
            <p:nvPr/>
          </p:nvSpPr>
          <p:spPr>
            <a:xfrm>
              <a:off x="5050585" y="2902253"/>
              <a:ext cx="77819" cy="27051"/>
            </a:xfrm>
            <a:custGeom>
              <a:avLst/>
              <a:gdLst>
                <a:gd name="connsiteX0" fmla="*/ 0 w 77819"/>
                <a:gd name="connsiteY0" fmla="*/ 0 h 27051"/>
                <a:gd name="connsiteX1" fmla="*/ 77819 w 77819"/>
                <a:gd name="connsiteY1" fmla="*/ 0 h 27051"/>
                <a:gd name="connsiteX2" fmla="*/ 77819 w 77819"/>
                <a:gd name="connsiteY2" fmla="*/ 27051 h 27051"/>
                <a:gd name="connsiteX3" fmla="*/ 0 w 77819"/>
                <a:gd name="connsiteY3" fmla="*/ 27051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9" h="27051">
                  <a:moveTo>
                    <a:pt x="0" y="0"/>
                  </a:moveTo>
                  <a:lnTo>
                    <a:pt x="77819" y="0"/>
                  </a:lnTo>
                  <a:lnTo>
                    <a:pt x="77819" y="27051"/>
                  </a:lnTo>
                  <a:lnTo>
                    <a:pt x="0" y="2705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0" name="Freihandform: Form 889">
              <a:extLst>
                <a:ext uri="{FF2B5EF4-FFF2-40B4-BE49-F238E27FC236}">
                  <a16:creationId xmlns:a16="http://schemas.microsoft.com/office/drawing/2014/main" id="{6BA3F50C-5A40-1F8F-5F58-947ED328400B}"/>
                </a:ext>
              </a:extLst>
            </p:cNvPr>
            <p:cNvSpPr/>
            <p:nvPr/>
          </p:nvSpPr>
          <p:spPr>
            <a:xfrm>
              <a:off x="5122689" y="2851104"/>
              <a:ext cx="54673" cy="7238"/>
            </a:xfrm>
            <a:custGeom>
              <a:avLst/>
              <a:gdLst>
                <a:gd name="connsiteX0" fmla="*/ 0 w 54673"/>
                <a:gd name="connsiteY0" fmla="*/ 0 h 7238"/>
                <a:gd name="connsiteX1" fmla="*/ 54674 w 54673"/>
                <a:gd name="connsiteY1" fmla="*/ 0 h 7238"/>
                <a:gd name="connsiteX2" fmla="*/ 54674 w 54673"/>
                <a:gd name="connsiteY2" fmla="*/ 7239 h 7238"/>
                <a:gd name="connsiteX3" fmla="*/ 0 w 54673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673" h="7238">
                  <a:moveTo>
                    <a:pt x="0" y="0"/>
                  </a:moveTo>
                  <a:lnTo>
                    <a:pt x="54674" y="0"/>
                  </a:lnTo>
                  <a:lnTo>
                    <a:pt x="54674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1" name="Freihandform: Form 890">
              <a:extLst>
                <a:ext uri="{FF2B5EF4-FFF2-40B4-BE49-F238E27FC236}">
                  <a16:creationId xmlns:a16="http://schemas.microsoft.com/office/drawing/2014/main" id="{13DB4F22-E587-A7DE-49E5-B9EB46D04F25}"/>
                </a:ext>
              </a:extLst>
            </p:cNvPr>
            <p:cNvSpPr/>
            <p:nvPr/>
          </p:nvSpPr>
          <p:spPr>
            <a:xfrm rot="16200000">
              <a:off x="5144516" y="2851071"/>
              <a:ext cx="65627" cy="7238"/>
            </a:xfrm>
            <a:custGeom>
              <a:avLst/>
              <a:gdLst>
                <a:gd name="connsiteX0" fmla="*/ 0 w 65627"/>
                <a:gd name="connsiteY0" fmla="*/ 0 h 7238"/>
                <a:gd name="connsiteX1" fmla="*/ 65627 w 65627"/>
                <a:gd name="connsiteY1" fmla="*/ 0 h 7238"/>
                <a:gd name="connsiteX2" fmla="*/ 65627 w 65627"/>
                <a:gd name="connsiteY2" fmla="*/ 7239 h 7238"/>
                <a:gd name="connsiteX3" fmla="*/ 0 w 65627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627" h="7238">
                  <a:moveTo>
                    <a:pt x="0" y="0"/>
                  </a:moveTo>
                  <a:lnTo>
                    <a:pt x="65627" y="0"/>
                  </a:lnTo>
                  <a:lnTo>
                    <a:pt x="65627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2" name="Freihandform: Form 891">
              <a:extLst>
                <a:ext uri="{FF2B5EF4-FFF2-40B4-BE49-F238E27FC236}">
                  <a16:creationId xmlns:a16="http://schemas.microsoft.com/office/drawing/2014/main" id="{10C34B9B-94EF-A5FF-F4E3-2CBD2F63BC7E}"/>
                </a:ext>
              </a:extLst>
            </p:cNvPr>
            <p:cNvSpPr/>
            <p:nvPr/>
          </p:nvSpPr>
          <p:spPr>
            <a:xfrm rot="19482087">
              <a:off x="5148976" y="2840692"/>
              <a:ext cx="32859" cy="7238"/>
            </a:xfrm>
            <a:custGeom>
              <a:avLst/>
              <a:gdLst>
                <a:gd name="connsiteX0" fmla="*/ 0 w 32859"/>
                <a:gd name="connsiteY0" fmla="*/ 0 h 7238"/>
                <a:gd name="connsiteX1" fmla="*/ 32859 w 32859"/>
                <a:gd name="connsiteY1" fmla="*/ 0 h 7238"/>
                <a:gd name="connsiteX2" fmla="*/ 32859 w 32859"/>
                <a:gd name="connsiteY2" fmla="*/ 7239 h 7238"/>
                <a:gd name="connsiteX3" fmla="*/ 0 w 32859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59" h="7238">
                  <a:moveTo>
                    <a:pt x="0" y="0"/>
                  </a:moveTo>
                  <a:lnTo>
                    <a:pt x="32859" y="0"/>
                  </a:lnTo>
                  <a:lnTo>
                    <a:pt x="32859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3" name="Freihandform: Form 892">
              <a:extLst>
                <a:ext uri="{FF2B5EF4-FFF2-40B4-BE49-F238E27FC236}">
                  <a16:creationId xmlns:a16="http://schemas.microsoft.com/office/drawing/2014/main" id="{C6340561-869B-B9A0-7847-999688452481}"/>
                </a:ext>
              </a:extLst>
            </p:cNvPr>
            <p:cNvSpPr/>
            <p:nvPr/>
          </p:nvSpPr>
          <p:spPr>
            <a:xfrm rot="2117913">
              <a:off x="5149089" y="2860724"/>
              <a:ext cx="32859" cy="7238"/>
            </a:xfrm>
            <a:custGeom>
              <a:avLst/>
              <a:gdLst>
                <a:gd name="connsiteX0" fmla="*/ 0 w 32859"/>
                <a:gd name="connsiteY0" fmla="*/ 0 h 7238"/>
                <a:gd name="connsiteX1" fmla="*/ 32859 w 32859"/>
                <a:gd name="connsiteY1" fmla="*/ 0 h 7238"/>
                <a:gd name="connsiteX2" fmla="*/ 32859 w 32859"/>
                <a:gd name="connsiteY2" fmla="*/ 7239 h 7238"/>
                <a:gd name="connsiteX3" fmla="*/ 0 w 32859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59" h="7238">
                  <a:moveTo>
                    <a:pt x="0" y="0"/>
                  </a:moveTo>
                  <a:lnTo>
                    <a:pt x="32859" y="0"/>
                  </a:lnTo>
                  <a:lnTo>
                    <a:pt x="32859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894" name="Gruppieren 893">
            <a:extLst>
              <a:ext uri="{FF2B5EF4-FFF2-40B4-BE49-F238E27FC236}">
                <a16:creationId xmlns:a16="http://schemas.microsoft.com/office/drawing/2014/main" id="{C276849A-DD20-BF6F-9096-B41907753A85}"/>
              </a:ext>
            </a:extLst>
          </p:cNvPr>
          <p:cNvGrpSpPr/>
          <p:nvPr/>
        </p:nvGrpSpPr>
        <p:grpSpPr>
          <a:xfrm>
            <a:off x="3986497" y="3702687"/>
            <a:ext cx="312804" cy="306174"/>
            <a:chOff x="6189775" y="2773285"/>
            <a:chExt cx="166306" cy="162781"/>
          </a:xfrm>
        </p:grpSpPr>
        <p:sp>
          <p:nvSpPr>
            <p:cNvPr id="895" name="Freihandform: Form 894">
              <a:extLst>
                <a:ext uri="{FF2B5EF4-FFF2-40B4-BE49-F238E27FC236}">
                  <a16:creationId xmlns:a16="http://schemas.microsoft.com/office/drawing/2014/main" id="{BB54B5EF-1781-827B-7929-1A69ECF620EE}"/>
                </a:ext>
              </a:extLst>
            </p:cNvPr>
            <p:cNvSpPr/>
            <p:nvPr/>
          </p:nvSpPr>
          <p:spPr>
            <a:xfrm>
              <a:off x="6189775" y="2773380"/>
              <a:ext cx="166306" cy="162686"/>
            </a:xfrm>
            <a:custGeom>
              <a:avLst/>
              <a:gdLst>
                <a:gd name="connsiteX0" fmla="*/ 166306 w 166306"/>
                <a:gd name="connsiteY0" fmla="*/ 81344 h 162686"/>
                <a:gd name="connsiteX1" fmla="*/ 83153 w 166306"/>
                <a:gd name="connsiteY1" fmla="*/ 162687 h 162686"/>
                <a:gd name="connsiteX2" fmla="*/ 0 w 166306"/>
                <a:gd name="connsiteY2" fmla="*/ 81344 h 162686"/>
                <a:gd name="connsiteX3" fmla="*/ 83153 w 166306"/>
                <a:gd name="connsiteY3" fmla="*/ 0 h 162686"/>
                <a:gd name="connsiteX4" fmla="*/ 166306 w 166306"/>
                <a:gd name="connsiteY4" fmla="*/ 81344 h 16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306" h="162686">
                  <a:moveTo>
                    <a:pt x="166306" y="81344"/>
                  </a:moveTo>
                  <a:cubicBezTo>
                    <a:pt x="166306" y="126268"/>
                    <a:pt x="129077" y="162687"/>
                    <a:pt x="83153" y="162687"/>
                  </a:cubicBezTo>
                  <a:cubicBezTo>
                    <a:pt x="37229" y="162687"/>
                    <a:pt x="0" y="126268"/>
                    <a:pt x="0" y="81344"/>
                  </a:cubicBezTo>
                  <a:cubicBezTo>
                    <a:pt x="0" y="36419"/>
                    <a:pt x="37229" y="0"/>
                    <a:pt x="83153" y="0"/>
                  </a:cubicBezTo>
                  <a:cubicBezTo>
                    <a:pt x="129077" y="0"/>
                    <a:pt x="166306" y="36419"/>
                    <a:pt x="166306" y="813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60" name="Freihandform: Form 959">
              <a:extLst>
                <a:ext uri="{FF2B5EF4-FFF2-40B4-BE49-F238E27FC236}">
                  <a16:creationId xmlns:a16="http://schemas.microsoft.com/office/drawing/2014/main" id="{F48CD511-C3C1-355C-7879-56AF13FD1AEE}"/>
                </a:ext>
              </a:extLst>
            </p:cNvPr>
            <p:cNvSpPr/>
            <p:nvPr/>
          </p:nvSpPr>
          <p:spPr>
            <a:xfrm>
              <a:off x="6295026" y="2789763"/>
              <a:ext cx="46291" cy="109823"/>
            </a:xfrm>
            <a:custGeom>
              <a:avLst/>
              <a:gdLst>
                <a:gd name="connsiteX0" fmla="*/ 29432 w 46291"/>
                <a:gd name="connsiteY0" fmla="*/ 109823 h 109823"/>
                <a:gd name="connsiteX1" fmla="*/ 46292 w 46291"/>
                <a:gd name="connsiteY1" fmla="*/ 64770 h 109823"/>
                <a:gd name="connsiteX2" fmla="*/ 0 w 46291"/>
                <a:gd name="connsiteY2" fmla="*/ 0 h 109823"/>
                <a:gd name="connsiteX3" fmla="*/ 29432 w 46291"/>
                <a:gd name="connsiteY3" fmla="*/ 109823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29432" y="109823"/>
                  </a:moveTo>
                  <a:cubicBezTo>
                    <a:pt x="39910" y="97822"/>
                    <a:pt x="46292" y="82010"/>
                    <a:pt x="46292" y="64770"/>
                  </a:cubicBezTo>
                  <a:cubicBezTo>
                    <a:pt x="46292" y="34671"/>
                    <a:pt x="26956" y="9144"/>
                    <a:pt x="0" y="0"/>
                  </a:cubicBezTo>
                  <a:lnTo>
                    <a:pt x="29432" y="10982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61" name="Freihandform: Form 960">
              <a:extLst>
                <a:ext uri="{FF2B5EF4-FFF2-40B4-BE49-F238E27FC236}">
                  <a16:creationId xmlns:a16="http://schemas.microsoft.com/office/drawing/2014/main" id="{EC0AF694-7747-6DBE-5241-95A6DE281B6B}"/>
                </a:ext>
              </a:extLst>
            </p:cNvPr>
            <p:cNvSpPr/>
            <p:nvPr/>
          </p:nvSpPr>
          <p:spPr>
            <a:xfrm>
              <a:off x="6204443" y="2789763"/>
              <a:ext cx="46291" cy="109823"/>
            </a:xfrm>
            <a:custGeom>
              <a:avLst/>
              <a:gdLst>
                <a:gd name="connsiteX0" fmla="*/ 46292 w 46291"/>
                <a:gd name="connsiteY0" fmla="*/ 0 h 109823"/>
                <a:gd name="connsiteX1" fmla="*/ 0 w 46291"/>
                <a:gd name="connsiteY1" fmla="*/ 64770 h 109823"/>
                <a:gd name="connsiteX2" fmla="*/ 16859 w 46291"/>
                <a:gd name="connsiteY2" fmla="*/ 109823 h 109823"/>
                <a:gd name="connsiteX3" fmla="*/ 46292 w 46291"/>
                <a:gd name="connsiteY3" fmla="*/ 0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46292" y="0"/>
                  </a:moveTo>
                  <a:cubicBezTo>
                    <a:pt x="19336" y="9239"/>
                    <a:pt x="0" y="34766"/>
                    <a:pt x="0" y="64770"/>
                  </a:cubicBezTo>
                  <a:cubicBezTo>
                    <a:pt x="0" y="82010"/>
                    <a:pt x="6382" y="97726"/>
                    <a:pt x="16859" y="109823"/>
                  </a:cubicBezTo>
                  <a:lnTo>
                    <a:pt x="46292" y="0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62" name="Freihandform: Form 961">
              <a:extLst>
                <a:ext uri="{FF2B5EF4-FFF2-40B4-BE49-F238E27FC236}">
                  <a16:creationId xmlns:a16="http://schemas.microsoft.com/office/drawing/2014/main" id="{A264BE29-BEB1-F41E-5BCC-0D6EFC26E139}"/>
                </a:ext>
              </a:extLst>
            </p:cNvPr>
            <p:cNvSpPr/>
            <p:nvPr/>
          </p:nvSpPr>
          <p:spPr>
            <a:xfrm>
              <a:off x="6227494" y="2786048"/>
              <a:ext cx="90868" cy="136969"/>
            </a:xfrm>
            <a:custGeom>
              <a:avLst/>
              <a:gdLst>
                <a:gd name="connsiteX0" fmla="*/ 59150 w 90868"/>
                <a:gd name="connsiteY0" fmla="*/ 1333 h 136969"/>
                <a:gd name="connsiteX1" fmla="*/ 45434 w 90868"/>
                <a:gd name="connsiteY1" fmla="*/ 0 h 136969"/>
                <a:gd name="connsiteX2" fmla="*/ 31718 w 90868"/>
                <a:gd name="connsiteY2" fmla="*/ 1333 h 136969"/>
                <a:gd name="connsiteX3" fmla="*/ 0 w 90868"/>
                <a:gd name="connsiteY3" fmla="*/ 119729 h 136969"/>
                <a:gd name="connsiteX4" fmla="*/ 45434 w 90868"/>
                <a:gd name="connsiteY4" fmla="*/ 136970 h 136969"/>
                <a:gd name="connsiteX5" fmla="*/ 90869 w 90868"/>
                <a:gd name="connsiteY5" fmla="*/ 119729 h 136969"/>
                <a:gd name="connsiteX6" fmla="*/ 59150 w 90868"/>
                <a:gd name="connsiteY6" fmla="*/ 1333 h 13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868" h="136969">
                  <a:moveTo>
                    <a:pt x="59150" y="1333"/>
                  </a:moveTo>
                  <a:cubicBezTo>
                    <a:pt x="54769" y="476"/>
                    <a:pt x="50197" y="0"/>
                    <a:pt x="45434" y="0"/>
                  </a:cubicBezTo>
                  <a:cubicBezTo>
                    <a:pt x="40672" y="0"/>
                    <a:pt x="36195" y="476"/>
                    <a:pt x="31718" y="1333"/>
                  </a:cubicBezTo>
                  <a:lnTo>
                    <a:pt x="0" y="119729"/>
                  </a:lnTo>
                  <a:cubicBezTo>
                    <a:pt x="12097" y="130397"/>
                    <a:pt x="28004" y="136970"/>
                    <a:pt x="45434" y="136970"/>
                  </a:cubicBezTo>
                  <a:cubicBezTo>
                    <a:pt x="62865" y="136970"/>
                    <a:pt x="78772" y="130492"/>
                    <a:pt x="90869" y="119729"/>
                  </a:cubicBezTo>
                  <a:lnTo>
                    <a:pt x="59150" y="133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63" name="Freihandform: Form 962">
              <a:extLst>
                <a:ext uri="{FF2B5EF4-FFF2-40B4-BE49-F238E27FC236}">
                  <a16:creationId xmlns:a16="http://schemas.microsoft.com/office/drawing/2014/main" id="{BFCF6689-C0F2-7F81-D652-865F9646240D}"/>
                </a:ext>
              </a:extLst>
            </p:cNvPr>
            <p:cNvSpPr/>
            <p:nvPr/>
          </p:nvSpPr>
          <p:spPr>
            <a:xfrm>
              <a:off x="6189775" y="2773285"/>
              <a:ext cx="166306" cy="162687"/>
            </a:xfrm>
            <a:custGeom>
              <a:avLst/>
              <a:gdLst>
                <a:gd name="connsiteX0" fmla="*/ 83153 w 166306"/>
                <a:gd name="connsiteY0" fmla="*/ 0 h 162687"/>
                <a:gd name="connsiteX1" fmla="*/ 166306 w 166306"/>
                <a:gd name="connsiteY1" fmla="*/ 81343 h 162687"/>
                <a:gd name="connsiteX2" fmla="*/ 83153 w 166306"/>
                <a:gd name="connsiteY2" fmla="*/ 162687 h 162687"/>
                <a:gd name="connsiteX3" fmla="*/ 0 w 166306"/>
                <a:gd name="connsiteY3" fmla="*/ 81343 h 162687"/>
                <a:gd name="connsiteX4" fmla="*/ 83153 w 166306"/>
                <a:gd name="connsiteY4" fmla="*/ 0 h 162687"/>
                <a:gd name="connsiteX5" fmla="*/ 83153 w 166306"/>
                <a:gd name="connsiteY5" fmla="*/ 0 h 162687"/>
                <a:gd name="connsiteX6" fmla="*/ 83153 w 166306"/>
                <a:gd name="connsiteY6" fmla="*/ 9334 h 162687"/>
                <a:gd name="connsiteX7" fmla="*/ 154686 w 166306"/>
                <a:gd name="connsiteY7" fmla="*/ 81439 h 162687"/>
                <a:gd name="connsiteX8" fmla="*/ 83153 w 166306"/>
                <a:gd name="connsiteY8" fmla="*/ 153543 h 162687"/>
                <a:gd name="connsiteX9" fmla="*/ 11621 w 166306"/>
                <a:gd name="connsiteY9" fmla="*/ 81439 h 162687"/>
                <a:gd name="connsiteX10" fmla="*/ 83153 w 166306"/>
                <a:gd name="connsiteY10" fmla="*/ 9334 h 162687"/>
                <a:gd name="connsiteX11" fmla="*/ 83153 w 166306"/>
                <a:gd name="connsiteY11" fmla="*/ 9334 h 16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306" h="162687">
                  <a:moveTo>
                    <a:pt x="83153" y="0"/>
                  </a:moveTo>
                  <a:cubicBezTo>
                    <a:pt x="129064" y="0"/>
                    <a:pt x="166306" y="36481"/>
                    <a:pt x="166306" y="81343"/>
                  </a:cubicBezTo>
                  <a:cubicBezTo>
                    <a:pt x="166306" y="126301"/>
                    <a:pt x="129064" y="162687"/>
                    <a:pt x="83153" y="162687"/>
                  </a:cubicBezTo>
                  <a:cubicBezTo>
                    <a:pt x="37243" y="162687"/>
                    <a:pt x="0" y="126206"/>
                    <a:pt x="0" y="81343"/>
                  </a:cubicBezTo>
                  <a:cubicBezTo>
                    <a:pt x="0" y="36481"/>
                    <a:pt x="37243" y="0"/>
                    <a:pt x="83153" y="0"/>
                  </a:cubicBezTo>
                  <a:lnTo>
                    <a:pt x="83153" y="0"/>
                  </a:lnTo>
                  <a:close/>
                  <a:moveTo>
                    <a:pt x="83153" y="9334"/>
                  </a:moveTo>
                  <a:cubicBezTo>
                    <a:pt x="122587" y="9334"/>
                    <a:pt x="154686" y="41624"/>
                    <a:pt x="154686" y="81439"/>
                  </a:cubicBezTo>
                  <a:cubicBezTo>
                    <a:pt x="154686" y="121253"/>
                    <a:pt x="122682" y="153543"/>
                    <a:pt x="83153" y="153543"/>
                  </a:cubicBezTo>
                  <a:cubicBezTo>
                    <a:pt x="43720" y="153543"/>
                    <a:pt x="11621" y="121253"/>
                    <a:pt x="11621" y="81439"/>
                  </a:cubicBezTo>
                  <a:cubicBezTo>
                    <a:pt x="11621" y="41624"/>
                    <a:pt x="43625" y="9334"/>
                    <a:pt x="83153" y="9334"/>
                  </a:cubicBezTo>
                  <a:lnTo>
                    <a:pt x="83153" y="9334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964" name="Grafik 1120">
            <a:extLst>
              <a:ext uri="{FF2B5EF4-FFF2-40B4-BE49-F238E27FC236}">
                <a16:creationId xmlns:a16="http://schemas.microsoft.com/office/drawing/2014/main" id="{99DB87E8-C379-7C5B-238B-3DADBF79BDC3}"/>
              </a:ext>
            </a:extLst>
          </p:cNvPr>
          <p:cNvGrpSpPr/>
          <p:nvPr/>
        </p:nvGrpSpPr>
        <p:grpSpPr>
          <a:xfrm>
            <a:off x="4424026" y="3749338"/>
            <a:ext cx="207116" cy="202697"/>
            <a:chOff x="6852429" y="2770237"/>
            <a:chExt cx="165163" cy="161639"/>
          </a:xfrm>
          <a:solidFill>
            <a:srgbClr val="000000"/>
          </a:solidFill>
        </p:grpSpPr>
        <p:sp>
          <p:nvSpPr>
            <p:cNvPr id="965" name="Freihandform: Form 964">
              <a:extLst>
                <a:ext uri="{FF2B5EF4-FFF2-40B4-BE49-F238E27FC236}">
                  <a16:creationId xmlns:a16="http://schemas.microsoft.com/office/drawing/2014/main" id="{62E4528F-88B6-4EFB-9BEA-7150093470FC}"/>
                </a:ext>
              </a:extLst>
            </p:cNvPr>
            <p:cNvSpPr/>
            <p:nvPr/>
          </p:nvSpPr>
          <p:spPr>
            <a:xfrm>
              <a:off x="6852429" y="2770332"/>
              <a:ext cx="165163" cy="161543"/>
            </a:xfrm>
            <a:custGeom>
              <a:avLst/>
              <a:gdLst>
                <a:gd name="connsiteX0" fmla="*/ 165164 w 165163"/>
                <a:gd name="connsiteY0" fmla="*/ 80772 h 161543"/>
                <a:gd name="connsiteX1" fmla="*/ 82582 w 165163"/>
                <a:gd name="connsiteY1" fmla="*/ 161544 h 161543"/>
                <a:gd name="connsiteX2" fmla="*/ 0 w 165163"/>
                <a:gd name="connsiteY2" fmla="*/ 80772 h 161543"/>
                <a:gd name="connsiteX3" fmla="*/ 82582 w 165163"/>
                <a:gd name="connsiteY3" fmla="*/ 0 h 161543"/>
                <a:gd name="connsiteX4" fmla="*/ 165164 w 165163"/>
                <a:gd name="connsiteY4" fmla="*/ 80772 h 161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63" h="161543">
                  <a:moveTo>
                    <a:pt x="165164" y="80772"/>
                  </a:moveTo>
                  <a:cubicBezTo>
                    <a:pt x="165164" y="125381"/>
                    <a:pt x="128191" y="161544"/>
                    <a:pt x="82582" y="161544"/>
                  </a:cubicBezTo>
                  <a:cubicBezTo>
                    <a:pt x="36973" y="161544"/>
                    <a:pt x="0" y="125381"/>
                    <a:pt x="0" y="80772"/>
                  </a:cubicBezTo>
                  <a:cubicBezTo>
                    <a:pt x="0" y="36163"/>
                    <a:pt x="36973" y="0"/>
                    <a:pt x="82582" y="0"/>
                  </a:cubicBezTo>
                  <a:cubicBezTo>
                    <a:pt x="128190" y="0"/>
                    <a:pt x="165164" y="36163"/>
                    <a:pt x="165164" y="8077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grpSp>
          <p:nvGrpSpPr>
            <p:cNvPr id="966" name="Grafik 1120">
              <a:extLst>
                <a:ext uri="{FF2B5EF4-FFF2-40B4-BE49-F238E27FC236}">
                  <a16:creationId xmlns:a16="http://schemas.microsoft.com/office/drawing/2014/main" id="{CCF09FAC-2CE3-2F60-354E-C835D4F3F03A}"/>
                </a:ext>
              </a:extLst>
            </p:cNvPr>
            <p:cNvGrpSpPr/>
            <p:nvPr/>
          </p:nvGrpSpPr>
          <p:grpSpPr>
            <a:xfrm>
              <a:off x="6852429" y="2770237"/>
              <a:ext cx="165163" cy="161544"/>
              <a:chOff x="6852429" y="2770237"/>
              <a:chExt cx="165163" cy="161544"/>
            </a:xfrm>
            <a:solidFill>
              <a:srgbClr val="5A616B"/>
            </a:solidFill>
          </p:grpSpPr>
          <p:sp>
            <p:nvSpPr>
              <p:cNvPr id="967" name="Freihandform: Form 966">
                <a:extLst>
                  <a:ext uri="{FF2B5EF4-FFF2-40B4-BE49-F238E27FC236}">
                    <a16:creationId xmlns:a16="http://schemas.microsoft.com/office/drawing/2014/main" id="{F2B93362-F2A6-7AF7-555B-A2DF0051759C}"/>
                  </a:ext>
                </a:extLst>
              </p:cNvPr>
              <p:cNvSpPr/>
              <p:nvPr/>
            </p:nvSpPr>
            <p:spPr>
              <a:xfrm>
                <a:off x="6852429" y="2770237"/>
                <a:ext cx="165163" cy="161544"/>
              </a:xfrm>
              <a:custGeom>
                <a:avLst/>
                <a:gdLst>
                  <a:gd name="connsiteX0" fmla="*/ 82582 w 165163"/>
                  <a:gd name="connsiteY0" fmla="*/ 0 h 161544"/>
                  <a:gd name="connsiteX1" fmla="*/ 165163 w 165163"/>
                  <a:gd name="connsiteY1" fmla="*/ 80772 h 161544"/>
                  <a:gd name="connsiteX2" fmla="*/ 82582 w 165163"/>
                  <a:gd name="connsiteY2" fmla="*/ 161544 h 161544"/>
                  <a:gd name="connsiteX3" fmla="*/ 0 w 165163"/>
                  <a:gd name="connsiteY3" fmla="*/ 80772 h 161544"/>
                  <a:gd name="connsiteX4" fmla="*/ 82582 w 165163"/>
                  <a:gd name="connsiteY4" fmla="*/ 0 h 161544"/>
                  <a:gd name="connsiteX5" fmla="*/ 82582 w 165163"/>
                  <a:gd name="connsiteY5" fmla="*/ 0 h 161544"/>
                  <a:gd name="connsiteX6" fmla="*/ 82582 w 165163"/>
                  <a:gd name="connsiteY6" fmla="*/ 9239 h 161544"/>
                  <a:gd name="connsiteX7" fmla="*/ 153638 w 165163"/>
                  <a:gd name="connsiteY7" fmla="*/ 80772 h 161544"/>
                  <a:gd name="connsiteX8" fmla="*/ 82582 w 165163"/>
                  <a:gd name="connsiteY8" fmla="*/ 152305 h 161544"/>
                  <a:gd name="connsiteX9" fmla="*/ 11525 w 165163"/>
                  <a:gd name="connsiteY9" fmla="*/ 80772 h 161544"/>
                  <a:gd name="connsiteX10" fmla="*/ 82582 w 165163"/>
                  <a:gd name="connsiteY10" fmla="*/ 9239 h 161544"/>
                  <a:gd name="connsiteX11" fmla="*/ 82582 w 165163"/>
                  <a:gd name="connsiteY11" fmla="*/ 9239 h 16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163" h="161544">
                    <a:moveTo>
                      <a:pt x="82582" y="0"/>
                    </a:moveTo>
                    <a:cubicBezTo>
                      <a:pt x="128206" y="0"/>
                      <a:pt x="165163" y="36195"/>
                      <a:pt x="165163" y="80772"/>
                    </a:cubicBezTo>
                    <a:cubicBezTo>
                      <a:pt x="165163" y="125349"/>
                      <a:pt x="128111" y="161544"/>
                      <a:pt x="82582" y="161544"/>
                    </a:cubicBezTo>
                    <a:cubicBezTo>
                      <a:pt x="36957" y="161544"/>
                      <a:pt x="0" y="125349"/>
                      <a:pt x="0" y="80772"/>
                    </a:cubicBezTo>
                    <a:cubicBezTo>
                      <a:pt x="0" y="36290"/>
                      <a:pt x="36957" y="0"/>
                      <a:pt x="82582" y="0"/>
                    </a:cubicBezTo>
                    <a:lnTo>
                      <a:pt x="82582" y="0"/>
                    </a:lnTo>
                    <a:close/>
                    <a:moveTo>
                      <a:pt x="82582" y="9239"/>
                    </a:moveTo>
                    <a:cubicBezTo>
                      <a:pt x="121825" y="9239"/>
                      <a:pt x="153638" y="41338"/>
                      <a:pt x="153638" y="80772"/>
                    </a:cubicBezTo>
                    <a:cubicBezTo>
                      <a:pt x="153638" y="120301"/>
                      <a:pt x="121825" y="152305"/>
                      <a:pt x="82582" y="152305"/>
                    </a:cubicBezTo>
                    <a:cubicBezTo>
                      <a:pt x="43339" y="152305"/>
                      <a:pt x="11525" y="120206"/>
                      <a:pt x="11525" y="80772"/>
                    </a:cubicBezTo>
                    <a:cubicBezTo>
                      <a:pt x="11525" y="41338"/>
                      <a:pt x="43339" y="9239"/>
                      <a:pt x="82582" y="9239"/>
                    </a:cubicBezTo>
                    <a:lnTo>
                      <a:pt x="82582" y="9239"/>
                    </a:lnTo>
                    <a:close/>
                  </a:path>
                </a:pathLst>
              </a:custGeom>
              <a:solidFill>
                <a:srgbClr val="5A616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486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de-DE" sz="3196">
                  <a:solidFill>
                    <a:srgbClr val="D7E4EE"/>
                  </a:solidFill>
                  <a:latin typeface="Siemens Sans" pitchFamily="2" charset="0"/>
                  <a:ea typeface="ＭＳ Ｐゴシック" charset="-128"/>
                </a:endParaRPr>
              </a:p>
            </p:txBody>
          </p:sp>
          <p:sp>
            <p:nvSpPr>
              <p:cNvPr id="968" name="Freihandform: Form 967">
                <a:extLst>
                  <a:ext uri="{FF2B5EF4-FFF2-40B4-BE49-F238E27FC236}">
                    <a16:creationId xmlns:a16="http://schemas.microsoft.com/office/drawing/2014/main" id="{B5D24F81-A47F-4670-AFB7-B9606B58045F}"/>
                  </a:ext>
                </a:extLst>
              </p:cNvPr>
              <p:cNvSpPr/>
              <p:nvPr/>
            </p:nvSpPr>
            <p:spPr>
              <a:xfrm>
                <a:off x="6867003" y="2782905"/>
                <a:ext cx="136016" cy="136016"/>
              </a:xfrm>
              <a:custGeom>
                <a:avLst/>
                <a:gdLst>
                  <a:gd name="connsiteX0" fmla="*/ 68008 w 136016"/>
                  <a:gd name="connsiteY0" fmla="*/ 0 h 136016"/>
                  <a:gd name="connsiteX1" fmla="*/ 0 w 136016"/>
                  <a:gd name="connsiteY1" fmla="*/ 68008 h 136016"/>
                  <a:gd name="connsiteX2" fmla="*/ 68008 w 136016"/>
                  <a:gd name="connsiteY2" fmla="*/ 136017 h 136016"/>
                  <a:gd name="connsiteX3" fmla="*/ 136017 w 136016"/>
                  <a:gd name="connsiteY3" fmla="*/ 68008 h 136016"/>
                  <a:gd name="connsiteX4" fmla="*/ 68008 w 136016"/>
                  <a:gd name="connsiteY4" fmla="*/ 0 h 136016"/>
                  <a:gd name="connsiteX5" fmla="*/ 89059 w 136016"/>
                  <a:gd name="connsiteY5" fmla="*/ 100013 h 136016"/>
                  <a:gd name="connsiteX6" fmla="*/ 88106 w 136016"/>
                  <a:gd name="connsiteY6" fmla="*/ 75724 h 136016"/>
                  <a:gd name="connsiteX7" fmla="*/ 87535 w 136016"/>
                  <a:gd name="connsiteY7" fmla="*/ 49625 h 136016"/>
                  <a:gd name="connsiteX8" fmla="*/ 87249 w 136016"/>
                  <a:gd name="connsiteY8" fmla="*/ 49625 h 136016"/>
                  <a:gd name="connsiteX9" fmla="*/ 80200 w 136016"/>
                  <a:gd name="connsiteY9" fmla="*/ 74200 h 136016"/>
                  <a:gd name="connsiteX10" fmla="*/ 72485 w 136016"/>
                  <a:gd name="connsiteY10" fmla="*/ 98965 h 136016"/>
                  <a:gd name="connsiteX11" fmla="*/ 61246 w 136016"/>
                  <a:gd name="connsiteY11" fmla="*/ 98965 h 136016"/>
                  <a:gd name="connsiteX12" fmla="*/ 54483 w 136016"/>
                  <a:gd name="connsiteY12" fmla="*/ 74390 h 136016"/>
                  <a:gd name="connsiteX13" fmla="*/ 48768 w 136016"/>
                  <a:gd name="connsiteY13" fmla="*/ 49625 h 136016"/>
                  <a:gd name="connsiteX14" fmla="*/ 48578 w 136016"/>
                  <a:gd name="connsiteY14" fmla="*/ 49625 h 136016"/>
                  <a:gd name="connsiteX15" fmla="*/ 47434 w 136016"/>
                  <a:gd name="connsiteY15" fmla="*/ 75914 h 136016"/>
                  <a:gd name="connsiteX16" fmla="*/ 46291 w 136016"/>
                  <a:gd name="connsiteY16" fmla="*/ 100108 h 136016"/>
                  <a:gd name="connsiteX17" fmla="*/ 32956 w 136016"/>
                  <a:gd name="connsiteY17" fmla="*/ 100108 h 136016"/>
                  <a:gd name="connsiteX18" fmla="*/ 37052 w 136016"/>
                  <a:gd name="connsiteY18" fmla="*/ 36481 h 136016"/>
                  <a:gd name="connsiteX19" fmla="*/ 56197 w 136016"/>
                  <a:gd name="connsiteY19" fmla="*/ 36481 h 136016"/>
                  <a:gd name="connsiteX20" fmla="*/ 62389 w 136016"/>
                  <a:gd name="connsiteY20" fmla="*/ 57721 h 136016"/>
                  <a:gd name="connsiteX21" fmla="*/ 67723 w 136016"/>
                  <a:gd name="connsiteY21" fmla="*/ 80486 h 136016"/>
                  <a:gd name="connsiteX22" fmla="*/ 68008 w 136016"/>
                  <a:gd name="connsiteY22" fmla="*/ 80486 h 136016"/>
                  <a:gd name="connsiteX23" fmla="*/ 74009 w 136016"/>
                  <a:gd name="connsiteY23" fmla="*/ 57626 h 136016"/>
                  <a:gd name="connsiteX24" fmla="*/ 80772 w 136016"/>
                  <a:gd name="connsiteY24" fmla="*/ 36481 h 136016"/>
                  <a:gd name="connsiteX25" fmla="*/ 99536 w 136016"/>
                  <a:gd name="connsiteY25" fmla="*/ 36481 h 136016"/>
                  <a:gd name="connsiteX26" fmla="*/ 103061 w 136016"/>
                  <a:gd name="connsiteY26" fmla="*/ 100108 h 136016"/>
                  <a:gd name="connsiteX27" fmla="*/ 89059 w 136016"/>
                  <a:gd name="connsiteY27" fmla="*/ 100108 h 136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16" h="136016">
                    <a:moveTo>
                      <a:pt x="68008" y="0"/>
                    </a:moveTo>
                    <a:cubicBezTo>
                      <a:pt x="30480" y="0"/>
                      <a:pt x="0" y="30480"/>
                      <a:pt x="0" y="68008"/>
                    </a:cubicBezTo>
                    <a:cubicBezTo>
                      <a:pt x="0" y="105537"/>
                      <a:pt x="30480" y="136017"/>
                      <a:pt x="68008" y="136017"/>
                    </a:cubicBezTo>
                    <a:cubicBezTo>
                      <a:pt x="105537" y="136017"/>
                      <a:pt x="136017" y="105537"/>
                      <a:pt x="136017" y="68008"/>
                    </a:cubicBezTo>
                    <a:cubicBezTo>
                      <a:pt x="136017" y="30480"/>
                      <a:pt x="105537" y="0"/>
                      <a:pt x="68008" y="0"/>
                    </a:cubicBezTo>
                    <a:close/>
                    <a:moveTo>
                      <a:pt x="89059" y="100013"/>
                    </a:moveTo>
                    <a:lnTo>
                      <a:pt x="88106" y="75724"/>
                    </a:lnTo>
                    <a:cubicBezTo>
                      <a:pt x="87821" y="68104"/>
                      <a:pt x="87535" y="58865"/>
                      <a:pt x="87535" y="49625"/>
                    </a:cubicBezTo>
                    <a:lnTo>
                      <a:pt x="87249" y="49625"/>
                    </a:lnTo>
                    <a:cubicBezTo>
                      <a:pt x="85249" y="57721"/>
                      <a:pt x="82677" y="66770"/>
                      <a:pt x="80200" y="74200"/>
                    </a:cubicBezTo>
                    <a:lnTo>
                      <a:pt x="72485" y="98965"/>
                    </a:lnTo>
                    <a:lnTo>
                      <a:pt x="61246" y="98965"/>
                    </a:lnTo>
                    <a:lnTo>
                      <a:pt x="54483" y="74390"/>
                    </a:lnTo>
                    <a:cubicBezTo>
                      <a:pt x="52388" y="66961"/>
                      <a:pt x="50197" y="57912"/>
                      <a:pt x="48768" y="49625"/>
                    </a:cubicBezTo>
                    <a:lnTo>
                      <a:pt x="48578" y="49625"/>
                    </a:lnTo>
                    <a:cubicBezTo>
                      <a:pt x="48196" y="58198"/>
                      <a:pt x="47911" y="68008"/>
                      <a:pt x="47434" y="75914"/>
                    </a:cubicBezTo>
                    <a:lnTo>
                      <a:pt x="46291" y="100108"/>
                    </a:lnTo>
                    <a:lnTo>
                      <a:pt x="32956" y="100108"/>
                    </a:lnTo>
                    <a:lnTo>
                      <a:pt x="37052" y="36481"/>
                    </a:lnTo>
                    <a:lnTo>
                      <a:pt x="56197" y="36481"/>
                    </a:lnTo>
                    <a:lnTo>
                      <a:pt x="62389" y="57721"/>
                    </a:lnTo>
                    <a:cubicBezTo>
                      <a:pt x="64389" y="65056"/>
                      <a:pt x="66389" y="72962"/>
                      <a:pt x="67723" y="80486"/>
                    </a:cubicBezTo>
                    <a:lnTo>
                      <a:pt x="68008" y="80486"/>
                    </a:lnTo>
                    <a:cubicBezTo>
                      <a:pt x="69818" y="73152"/>
                      <a:pt x="72009" y="64770"/>
                      <a:pt x="74009" y="57626"/>
                    </a:cubicBezTo>
                    <a:lnTo>
                      <a:pt x="80772" y="36481"/>
                    </a:lnTo>
                    <a:lnTo>
                      <a:pt x="99536" y="36481"/>
                    </a:lnTo>
                    <a:lnTo>
                      <a:pt x="103061" y="100108"/>
                    </a:lnTo>
                    <a:lnTo>
                      <a:pt x="89059" y="100108"/>
                    </a:lnTo>
                    <a:close/>
                  </a:path>
                </a:pathLst>
              </a:custGeom>
              <a:solidFill>
                <a:srgbClr val="5A616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486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de-DE" sz="3196">
                  <a:solidFill>
                    <a:srgbClr val="D7E4EE"/>
                  </a:solidFill>
                  <a:latin typeface="Siemens Sans" pitchFamily="2" charset="0"/>
                  <a:ea typeface="ＭＳ Ｐゴシック" charset="-128"/>
                </a:endParaRPr>
              </a:p>
            </p:txBody>
          </p:sp>
        </p:grpSp>
      </p:grpSp>
      <p:sp>
        <p:nvSpPr>
          <p:cNvPr id="969" name="Rechteck 968">
            <a:extLst>
              <a:ext uri="{FF2B5EF4-FFF2-40B4-BE49-F238E27FC236}">
                <a16:creationId xmlns:a16="http://schemas.microsoft.com/office/drawing/2014/main" id="{DC994AEF-2626-FB27-F242-5089A2A197E7}"/>
              </a:ext>
            </a:extLst>
          </p:cNvPr>
          <p:cNvSpPr/>
          <p:nvPr/>
        </p:nvSpPr>
        <p:spPr>
          <a:xfrm>
            <a:off x="2822329" y="2619700"/>
            <a:ext cx="1522904" cy="26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486">
              <a:defRPr/>
            </a:pPr>
            <a:r>
              <a:rPr lang="de-DE" sz="1098" b="1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rPr>
              <a:t>Heat Pump </a:t>
            </a:r>
          </a:p>
        </p:txBody>
      </p:sp>
      <p:sp>
        <p:nvSpPr>
          <p:cNvPr id="970" name="Freihandform: Form 969">
            <a:extLst>
              <a:ext uri="{FF2B5EF4-FFF2-40B4-BE49-F238E27FC236}">
                <a16:creationId xmlns:a16="http://schemas.microsoft.com/office/drawing/2014/main" id="{A3126F6C-1D9F-BD4C-1C60-378C65D516D9}"/>
              </a:ext>
            </a:extLst>
          </p:cNvPr>
          <p:cNvSpPr/>
          <p:nvPr/>
        </p:nvSpPr>
        <p:spPr bwMode="auto">
          <a:xfrm flipH="1">
            <a:off x="3036339" y="2434534"/>
            <a:ext cx="1924276" cy="351329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486">
              <a:defRPr/>
            </a:pPr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75" name="Freihandform: Form 974">
            <a:extLst>
              <a:ext uri="{FF2B5EF4-FFF2-40B4-BE49-F238E27FC236}">
                <a16:creationId xmlns:a16="http://schemas.microsoft.com/office/drawing/2014/main" id="{878C5333-6E2A-0FDF-E8B2-30A7FA78C1FD}"/>
              </a:ext>
            </a:extLst>
          </p:cNvPr>
          <p:cNvSpPr/>
          <p:nvPr/>
        </p:nvSpPr>
        <p:spPr bwMode="auto">
          <a:xfrm>
            <a:off x="843618" y="2436462"/>
            <a:ext cx="2034931" cy="347090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sm"/>
            <a:tailEnd type="triangle" w="med" len="med"/>
          </a:ln>
          <a:effectLst/>
        </p:spPr>
        <p:txBody>
          <a:bodyPr rtlCol="0" anchor="ctr"/>
          <a:lstStyle/>
          <a:p>
            <a:pPr algn="ctr" defTabSz="913486">
              <a:defRPr/>
            </a:pPr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76" name="Freihandform: Form 975">
            <a:extLst>
              <a:ext uri="{FF2B5EF4-FFF2-40B4-BE49-F238E27FC236}">
                <a16:creationId xmlns:a16="http://schemas.microsoft.com/office/drawing/2014/main" id="{E3035073-0ADE-F33D-AF22-DD913D14E845}"/>
              </a:ext>
            </a:extLst>
          </p:cNvPr>
          <p:cNvSpPr/>
          <p:nvPr/>
        </p:nvSpPr>
        <p:spPr bwMode="auto">
          <a:xfrm rot="16200000" flipH="1">
            <a:off x="3847689" y="4029730"/>
            <a:ext cx="312321" cy="1913534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F8923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486">
              <a:defRPr/>
            </a:pPr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77" name="Freihandform: Form 976">
            <a:extLst>
              <a:ext uri="{FF2B5EF4-FFF2-40B4-BE49-F238E27FC236}">
                <a16:creationId xmlns:a16="http://schemas.microsoft.com/office/drawing/2014/main" id="{4B358E6B-B99F-0C8A-ECE5-0A8A5876773A}"/>
              </a:ext>
            </a:extLst>
          </p:cNvPr>
          <p:cNvSpPr/>
          <p:nvPr/>
        </p:nvSpPr>
        <p:spPr>
          <a:xfrm>
            <a:off x="1856097" y="3956788"/>
            <a:ext cx="964860" cy="752661"/>
          </a:xfrm>
          <a:custGeom>
            <a:avLst/>
            <a:gdLst>
              <a:gd name="connsiteX0" fmla="*/ 0 w 488166"/>
              <a:gd name="connsiteY0" fmla="*/ 0 h 652102"/>
              <a:gd name="connsiteX1" fmla="*/ 0 w 488166"/>
              <a:gd name="connsiteY1" fmla="*/ 652102 h 652102"/>
              <a:gd name="connsiteX2" fmla="*/ 488166 w 488166"/>
              <a:gd name="connsiteY2" fmla="*/ 652102 h 65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166" h="652102">
                <a:moveTo>
                  <a:pt x="0" y="0"/>
                </a:moveTo>
                <a:lnTo>
                  <a:pt x="0" y="652102"/>
                </a:lnTo>
                <a:lnTo>
                  <a:pt x="488166" y="652102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978" name="Freihandform: Form 977">
            <a:extLst>
              <a:ext uri="{FF2B5EF4-FFF2-40B4-BE49-F238E27FC236}">
                <a16:creationId xmlns:a16="http://schemas.microsoft.com/office/drawing/2014/main" id="{EB2648C6-9CAC-FF42-C0CE-A98387E20CDC}"/>
              </a:ext>
            </a:extLst>
          </p:cNvPr>
          <p:cNvSpPr/>
          <p:nvPr/>
        </p:nvSpPr>
        <p:spPr>
          <a:xfrm rot="10800000">
            <a:off x="3105236" y="2899864"/>
            <a:ext cx="1035508" cy="786630"/>
          </a:xfrm>
          <a:custGeom>
            <a:avLst/>
            <a:gdLst>
              <a:gd name="connsiteX0" fmla="*/ 0 w 488166"/>
              <a:gd name="connsiteY0" fmla="*/ 0 h 652102"/>
              <a:gd name="connsiteX1" fmla="*/ 0 w 488166"/>
              <a:gd name="connsiteY1" fmla="*/ 652102 h 652102"/>
              <a:gd name="connsiteX2" fmla="*/ 488166 w 488166"/>
              <a:gd name="connsiteY2" fmla="*/ 652102 h 65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166" h="652102">
                <a:moveTo>
                  <a:pt x="0" y="0"/>
                </a:moveTo>
                <a:lnTo>
                  <a:pt x="0" y="652102"/>
                </a:lnTo>
                <a:lnTo>
                  <a:pt x="488166" y="652102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979" name="Freihandform: Form 978">
            <a:extLst>
              <a:ext uri="{FF2B5EF4-FFF2-40B4-BE49-F238E27FC236}">
                <a16:creationId xmlns:a16="http://schemas.microsoft.com/office/drawing/2014/main" id="{7ECDBCC3-C3A1-48CA-4C54-2ECFFE96F517}"/>
              </a:ext>
            </a:extLst>
          </p:cNvPr>
          <p:cNvSpPr/>
          <p:nvPr/>
        </p:nvSpPr>
        <p:spPr>
          <a:xfrm>
            <a:off x="1858089" y="2909101"/>
            <a:ext cx="935098" cy="829255"/>
          </a:xfrm>
          <a:custGeom>
            <a:avLst/>
            <a:gdLst>
              <a:gd name="connsiteX0" fmla="*/ 480879 w 480879"/>
              <a:gd name="connsiteY0" fmla="*/ 0 h 550097"/>
              <a:gd name="connsiteX1" fmla="*/ 0 w 480879"/>
              <a:gd name="connsiteY1" fmla="*/ 0 h 550097"/>
              <a:gd name="connsiteX2" fmla="*/ 0 w 480879"/>
              <a:gd name="connsiteY2" fmla="*/ 550097 h 550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0879" h="550097">
                <a:moveTo>
                  <a:pt x="480879" y="0"/>
                </a:moveTo>
                <a:lnTo>
                  <a:pt x="0" y="0"/>
                </a:lnTo>
                <a:lnTo>
                  <a:pt x="0" y="550097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980" name="Textfeld 979">
            <a:extLst>
              <a:ext uri="{FF2B5EF4-FFF2-40B4-BE49-F238E27FC236}">
                <a16:creationId xmlns:a16="http://schemas.microsoft.com/office/drawing/2014/main" id="{67B9D314-DDDB-83BA-B4EA-F8C4D078D6DE}"/>
              </a:ext>
            </a:extLst>
          </p:cNvPr>
          <p:cNvSpPr txBox="1"/>
          <p:nvPr/>
        </p:nvSpPr>
        <p:spPr>
          <a:xfrm>
            <a:off x="1002349" y="2229848"/>
            <a:ext cx="1210273" cy="294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just">
              <a:lnSpc>
                <a:spcPct val="110000"/>
              </a:lnSpc>
              <a:defRPr sz="1100" b="1"/>
            </a:lvl1pPr>
          </a:lstStyle>
          <a:p>
            <a:endParaRPr lang="en-US" dirty="0">
              <a:latin typeface="Siemens Sans" pitchFamily="2" charset="0"/>
            </a:endParaRPr>
          </a:p>
        </p:txBody>
      </p:sp>
      <p:sp>
        <p:nvSpPr>
          <p:cNvPr id="981" name="Textfeld 980">
            <a:extLst>
              <a:ext uri="{FF2B5EF4-FFF2-40B4-BE49-F238E27FC236}">
                <a16:creationId xmlns:a16="http://schemas.microsoft.com/office/drawing/2014/main" id="{D2AB20CE-61AC-35F1-3B3A-35190C86A942}"/>
              </a:ext>
            </a:extLst>
          </p:cNvPr>
          <p:cNvSpPr txBox="1"/>
          <p:nvPr/>
        </p:nvSpPr>
        <p:spPr>
          <a:xfrm>
            <a:off x="3827750" y="2220388"/>
            <a:ext cx="1210273" cy="294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10000"/>
              </a:lnSpc>
            </a:pPr>
            <a:endParaRPr lang="en-US" sz="1100" b="1" dirty="0">
              <a:solidFill>
                <a:srgbClr val="3C464B"/>
              </a:solidFill>
              <a:latin typeface="Siemens Sans" pitchFamily="2" charset="0"/>
            </a:endParaRPr>
          </a:p>
        </p:txBody>
      </p:sp>
      <p:sp>
        <p:nvSpPr>
          <p:cNvPr id="982" name="Rechteck 981">
            <a:extLst>
              <a:ext uri="{FF2B5EF4-FFF2-40B4-BE49-F238E27FC236}">
                <a16:creationId xmlns:a16="http://schemas.microsoft.com/office/drawing/2014/main" id="{3A2DB06A-9C2E-835E-F472-3CE5AD63220C}"/>
              </a:ext>
            </a:extLst>
          </p:cNvPr>
          <p:cNvSpPr/>
          <p:nvPr/>
        </p:nvSpPr>
        <p:spPr>
          <a:xfrm>
            <a:off x="3882052" y="4950236"/>
            <a:ext cx="960280" cy="2639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10000"/>
              </a:lnSpc>
            </a:pPr>
            <a:endParaRPr lang="en-US" sz="1100" b="1" dirty="0">
              <a:latin typeface="Siemens Sans" pitchFamily="2" charset="0"/>
            </a:endParaRPr>
          </a:p>
        </p:txBody>
      </p:sp>
      <p:grpSp>
        <p:nvGrpSpPr>
          <p:cNvPr id="994" name="Grafik 199">
            <a:extLst>
              <a:ext uri="{FF2B5EF4-FFF2-40B4-BE49-F238E27FC236}">
                <a16:creationId xmlns:a16="http://schemas.microsoft.com/office/drawing/2014/main" id="{8561A09E-D442-2E1F-C6E2-7D8664ED4BEA}"/>
              </a:ext>
            </a:extLst>
          </p:cNvPr>
          <p:cNvGrpSpPr/>
          <p:nvPr/>
        </p:nvGrpSpPr>
        <p:grpSpPr>
          <a:xfrm rot="16200000">
            <a:off x="2796904" y="2760817"/>
            <a:ext cx="302698" cy="309456"/>
            <a:chOff x="5423344" y="4032228"/>
            <a:chExt cx="213359" cy="218122"/>
          </a:xfrm>
          <a:solidFill>
            <a:srgbClr val="000000"/>
          </a:solidFill>
          <a:effectLst/>
        </p:grpSpPr>
        <p:sp>
          <p:nvSpPr>
            <p:cNvPr id="995" name="Freihandform: Form 994">
              <a:extLst>
                <a:ext uri="{FF2B5EF4-FFF2-40B4-BE49-F238E27FC236}">
                  <a16:creationId xmlns:a16="http://schemas.microsoft.com/office/drawing/2014/main" id="{8029B4C9-6E99-601E-47A8-EFAAE322703F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2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94"/>
                    <a:pt x="165598" y="218122"/>
                    <a:pt x="106680" y="218122"/>
                  </a:cubicBezTo>
                  <a:cubicBezTo>
                    <a:pt x="47762" y="218122"/>
                    <a:pt x="0" y="169294"/>
                    <a:pt x="0" y="109061"/>
                  </a:cubicBezTo>
                  <a:cubicBezTo>
                    <a:pt x="0" y="48828"/>
                    <a:pt x="47762" y="0"/>
                    <a:pt x="106680" y="0"/>
                  </a:cubicBezTo>
                  <a:cubicBezTo>
                    <a:pt x="165598" y="0"/>
                    <a:pt x="213360" y="48828"/>
                    <a:pt x="213360" y="10906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de-DE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96" name="Freihandform: Form 995">
              <a:extLst>
                <a:ext uri="{FF2B5EF4-FFF2-40B4-BE49-F238E27FC236}">
                  <a16:creationId xmlns:a16="http://schemas.microsoft.com/office/drawing/2014/main" id="{2112F959-D4E3-4279-3804-DFB14262DF47}"/>
                </a:ext>
              </a:extLst>
            </p:cNvPr>
            <p:cNvSpPr/>
            <p:nvPr/>
          </p:nvSpPr>
          <p:spPr>
            <a:xfrm>
              <a:off x="5440393" y="4051373"/>
              <a:ext cx="179641" cy="179641"/>
            </a:xfrm>
            <a:custGeom>
              <a:avLst/>
              <a:gdLst>
                <a:gd name="connsiteX0" fmla="*/ 154972 w 179641"/>
                <a:gd name="connsiteY0" fmla="*/ 151638 h 179641"/>
                <a:gd name="connsiteX1" fmla="*/ 89821 w 179641"/>
                <a:gd name="connsiteY1" fmla="*/ 179642 h 179641"/>
                <a:gd name="connsiteX2" fmla="*/ 0 w 179641"/>
                <a:gd name="connsiteY2" fmla="*/ 89821 h 179641"/>
                <a:gd name="connsiteX3" fmla="*/ 89821 w 179641"/>
                <a:gd name="connsiteY3" fmla="*/ 0 h 179641"/>
                <a:gd name="connsiteX4" fmla="*/ 150304 w 179641"/>
                <a:gd name="connsiteY4" fmla="*/ 23432 h 179641"/>
                <a:gd name="connsiteX5" fmla="*/ 111157 w 179641"/>
                <a:gd name="connsiteY5" fmla="*/ 23432 h 179641"/>
                <a:gd name="connsiteX6" fmla="*/ 111062 w 179641"/>
                <a:gd name="connsiteY6" fmla="*/ 19050 h 179641"/>
                <a:gd name="connsiteX7" fmla="*/ 49530 w 179641"/>
                <a:gd name="connsiteY7" fmla="*/ 19050 h 179641"/>
                <a:gd name="connsiteX8" fmla="*/ 49530 w 179641"/>
                <a:gd name="connsiteY8" fmla="*/ 23432 h 179641"/>
                <a:gd name="connsiteX9" fmla="*/ 48768 w 179641"/>
                <a:gd name="connsiteY9" fmla="*/ 23432 h 179641"/>
                <a:gd name="connsiteX10" fmla="*/ 40672 w 179641"/>
                <a:gd name="connsiteY10" fmla="*/ 30480 h 179641"/>
                <a:gd name="connsiteX11" fmla="*/ 48578 w 179641"/>
                <a:gd name="connsiteY11" fmla="*/ 37243 h 179641"/>
                <a:gd name="connsiteX12" fmla="*/ 99155 w 179641"/>
                <a:gd name="connsiteY12" fmla="*/ 37243 h 179641"/>
                <a:gd name="connsiteX13" fmla="*/ 99155 w 179641"/>
                <a:gd name="connsiteY13" fmla="*/ 37338 h 179641"/>
                <a:gd name="connsiteX14" fmla="*/ 113729 w 179641"/>
                <a:gd name="connsiteY14" fmla="*/ 37243 h 179641"/>
                <a:gd name="connsiteX15" fmla="*/ 117538 w 179641"/>
                <a:gd name="connsiteY15" fmla="*/ 40100 h 179641"/>
                <a:gd name="connsiteX16" fmla="*/ 113729 w 179641"/>
                <a:gd name="connsiteY16" fmla="*/ 42577 h 179641"/>
                <a:gd name="connsiteX17" fmla="*/ 110966 w 179641"/>
                <a:gd name="connsiteY17" fmla="*/ 42577 h 179641"/>
                <a:gd name="connsiteX18" fmla="*/ 111062 w 179641"/>
                <a:gd name="connsiteY18" fmla="*/ 39053 h 179641"/>
                <a:gd name="connsiteX19" fmla="*/ 49530 w 179641"/>
                <a:gd name="connsiteY19" fmla="*/ 39053 h 179641"/>
                <a:gd name="connsiteX20" fmla="*/ 49435 w 179641"/>
                <a:gd name="connsiteY20" fmla="*/ 42577 h 179641"/>
                <a:gd name="connsiteX21" fmla="*/ 48673 w 179641"/>
                <a:gd name="connsiteY21" fmla="*/ 42577 h 179641"/>
                <a:gd name="connsiteX22" fmla="*/ 40576 w 179641"/>
                <a:gd name="connsiteY22" fmla="*/ 49625 h 179641"/>
                <a:gd name="connsiteX23" fmla="*/ 48482 w 179641"/>
                <a:gd name="connsiteY23" fmla="*/ 56388 h 179641"/>
                <a:gd name="connsiteX24" fmla="*/ 99060 w 179641"/>
                <a:gd name="connsiteY24" fmla="*/ 56388 h 179641"/>
                <a:gd name="connsiteX25" fmla="*/ 99060 w 179641"/>
                <a:gd name="connsiteY25" fmla="*/ 56483 h 179641"/>
                <a:gd name="connsiteX26" fmla="*/ 113633 w 179641"/>
                <a:gd name="connsiteY26" fmla="*/ 56388 h 179641"/>
                <a:gd name="connsiteX27" fmla="*/ 117443 w 179641"/>
                <a:gd name="connsiteY27" fmla="*/ 59246 h 179641"/>
                <a:gd name="connsiteX28" fmla="*/ 113633 w 179641"/>
                <a:gd name="connsiteY28" fmla="*/ 61722 h 179641"/>
                <a:gd name="connsiteX29" fmla="*/ 110871 w 179641"/>
                <a:gd name="connsiteY29" fmla="*/ 61722 h 179641"/>
                <a:gd name="connsiteX30" fmla="*/ 110871 w 179641"/>
                <a:gd name="connsiteY30" fmla="*/ 58484 h 179641"/>
                <a:gd name="connsiteX31" fmla="*/ 49340 w 179641"/>
                <a:gd name="connsiteY31" fmla="*/ 58484 h 179641"/>
                <a:gd name="connsiteX32" fmla="*/ 49340 w 179641"/>
                <a:gd name="connsiteY32" fmla="*/ 61722 h 179641"/>
                <a:gd name="connsiteX33" fmla="*/ 48673 w 179641"/>
                <a:gd name="connsiteY33" fmla="*/ 61722 h 179641"/>
                <a:gd name="connsiteX34" fmla="*/ 40576 w 179641"/>
                <a:gd name="connsiteY34" fmla="*/ 68771 h 179641"/>
                <a:gd name="connsiteX35" fmla="*/ 48482 w 179641"/>
                <a:gd name="connsiteY35" fmla="*/ 75533 h 179641"/>
                <a:gd name="connsiteX36" fmla="*/ 113633 w 179641"/>
                <a:gd name="connsiteY36" fmla="*/ 75533 h 179641"/>
                <a:gd name="connsiteX37" fmla="*/ 113633 w 179641"/>
                <a:gd name="connsiteY37" fmla="*/ 75438 h 179641"/>
                <a:gd name="connsiteX38" fmla="*/ 117443 w 179641"/>
                <a:gd name="connsiteY38" fmla="*/ 78296 h 179641"/>
                <a:gd name="connsiteX39" fmla="*/ 113633 w 179641"/>
                <a:gd name="connsiteY39" fmla="*/ 80772 h 179641"/>
                <a:gd name="connsiteX40" fmla="*/ 110776 w 179641"/>
                <a:gd name="connsiteY40" fmla="*/ 80772 h 179641"/>
                <a:gd name="connsiteX41" fmla="*/ 110776 w 179641"/>
                <a:gd name="connsiteY41" fmla="*/ 77438 h 179641"/>
                <a:gd name="connsiteX42" fmla="*/ 49244 w 179641"/>
                <a:gd name="connsiteY42" fmla="*/ 77438 h 179641"/>
                <a:gd name="connsiteX43" fmla="*/ 49244 w 179641"/>
                <a:gd name="connsiteY43" fmla="*/ 80772 h 179641"/>
                <a:gd name="connsiteX44" fmla="*/ 48578 w 179641"/>
                <a:gd name="connsiteY44" fmla="*/ 80772 h 179641"/>
                <a:gd name="connsiteX45" fmla="*/ 40481 w 179641"/>
                <a:gd name="connsiteY45" fmla="*/ 87821 h 179641"/>
                <a:gd name="connsiteX46" fmla="*/ 48387 w 179641"/>
                <a:gd name="connsiteY46" fmla="*/ 94583 h 179641"/>
                <a:gd name="connsiteX47" fmla="*/ 113538 w 179641"/>
                <a:gd name="connsiteY47" fmla="*/ 94583 h 179641"/>
                <a:gd name="connsiteX48" fmla="*/ 113538 w 179641"/>
                <a:gd name="connsiteY48" fmla="*/ 94488 h 179641"/>
                <a:gd name="connsiteX49" fmla="*/ 117348 w 179641"/>
                <a:gd name="connsiteY49" fmla="*/ 97346 h 179641"/>
                <a:gd name="connsiteX50" fmla="*/ 113538 w 179641"/>
                <a:gd name="connsiteY50" fmla="*/ 99822 h 179641"/>
                <a:gd name="connsiteX51" fmla="*/ 110680 w 179641"/>
                <a:gd name="connsiteY51" fmla="*/ 99822 h 179641"/>
                <a:gd name="connsiteX52" fmla="*/ 110680 w 179641"/>
                <a:gd name="connsiteY52" fmla="*/ 96488 h 179641"/>
                <a:gd name="connsiteX53" fmla="*/ 49149 w 179641"/>
                <a:gd name="connsiteY53" fmla="*/ 96488 h 179641"/>
                <a:gd name="connsiteX54" fmla="*/ 49149 w 179641"/>
                <a:gd name="connsiteY54" fmla="*/ 99822 h 179641"/>
                <a:gd name="connsiteX55" fmla="*/ 48482 w 179641"/>
                <a:gd name="connsiteY55" fmla="*/ 99822 h 179641"/>
                <a:gd name="connsiteX56" fmla="*/ 40386 w 179641"/>
                <a:gd name="connsiteY56" fmla="*/ 106871 h 179641"/>
                <a:gd name="connsiteX57" fmla="*/ 48292 w 179641"/>
                <a:gd name="connsiteY57" fmla="*/ 113633 h 179641"/>
                <a:gd name="connsiteX58" fmla="*/ 98870 w 179641"/>
                <a:gd name="connsiteY58" fmla="*/ 113633 h 179641"/>
                <a:gd name="connsiteX59" fmla="*/ 98870 w 179641"/>
                <a:gd name="connsiteY59" fmla="*/ 113633 h 179641"/>
                <a:gd name="connsiteX60" fmla="*/ 100108 w 179641"/>
                <a:gd name="connsiteY60" fmla="*/ 113633 h 179641"/>
                <a:gd name="connsiteX61" fmla="*/ 113443 w 179641"/>
                <a:gd name="connsiteY61" fmla="*/ 113633 h 179641"/>
                <a:gd name="connsiteX62" fmla="*/ 113443 w 179641"/>
                <a:gd name="connsiteY62" fmla="*/ 113538 h 179641"/>
                <a:gd name="connsiteX63" fmla="*/ 117253 w 179641"/>
                <a:gd name="connsiteY63" fmla="*/ 116396 h 179641"/>
                <a:gd name="connsiteX64" fmla="*/ 113443 w 179641"/>
                <a:gd name="connsiteY64" fmla="*/ 118872 h 179641"/>
                <a:gd name="connsiteX65" fmla="*/ 110585 w 179641"/>
                <a:gd name="connsiteY65" fmla="*/ 118872 h 179641"/>
                <a:gd name="connsiteX66" fmla="*/ 110585 w 179641"/>
                <a:gd name="connsiteY66" fmla="*/ 115443 h 179641"/>
                <a:gd name="connsiteX67" fmla="*/ 49054 w 179641"/>
                <a:gd name="connsiteY67" fmla="*/ 115443 h 179641"/>
                <a:gd name="connsiteX68" fmla="*/ 49054 w 179641"/>
                <a:gd name="connsiteY68" fmla="*/ 118872 h 179641"/>
                <a:gd name="connsiteX69" fmla="*/ 48387 w 179641"/>
                <a:gd name="connsiteY69" fmla="*/ 118872 h 179641"/>
                <a:gd name="connsiteX70" fmla="*/ 40291 w 179641"/>
                <a:gd name="connsiteY70" fmla="*/ 125921 h 179641"/>
                <a:gd name="connsiteX71" fmla="*/ 48196 w 179641"/>
                <a:gd name="connsiteY71" fmla="*/ 132683 h 179641"/>
                <a:gd name="connsiteX72" fmla="*/ 113348 w 179641"/>
                <a:gd name="connsiteY72" fmla="*/ 132683 h 179641"/>
                <a:gd name="connsiteX73" fmla="*/ 113348 w 179641"/>
                <a:gd name="connsiteY73" fmla="*/ 132588 h 179641"/>
                <a:gd name="connsiteX74" fmla="*/ 117158 w 179641"/>
                <a:gd name="connsiteY74" fmla="*/ 135446 h 179641"/>
                <a:gd name="connsiteX75" fmla="*/ 113348 w 179641"/>
                <a:gd name="connsiteY75" fmla="*/ 137922 h 179641"/>
                <a:gd name="connsiteX76" fmla="*/ 110490 w 179641"/>
                <a:gd name="connsiteY76" fmla="*/ 137922 h 179641"/>
                <a:gd name="connsiteX77" fmla="*/ 110490 w 179641"/>
                <a:gd name="connsiteY77" fmla="*/ 134588 h 179641"/>
                <a:gd name="connsiteX78" fmla="*/ 48958 w 179641"/>
                <a:gd name="connsiteY78" fmla="*/ 134588 h 179641"/>
                <a:gd name="connsiteX79" fmla="*/ 48958 w 179641"/>
                <a:gd name="connsiteY79" fmla="*/ 137922 h 179641"/>
                <a:gd name="connsiteX80" fmla="*/ 48292 w 179641"/>
                <a:gd name="connsiteY80" fmla="*/ 137922 h 179641"/>
                <a:gd name="connsiteX81" fmla="*/ 40196 w 179641"/>
                <a:gd name="connsiteY81" fmla="*/ 144971 h 179641"/>
                <a:gd name="connsiteX82" fmla="*/ 48101 w 179641"/>
                <a:gd name="connsiteY82" fmla="*/ 151733 h 179641"/>
                <a:gd name="connsiteX83" fmla="*/ 154972 w 179641"/>
                <a:gd name="connsiteY83" fmla="*/ 151733 h 179641"/>
                <a:gd name="connsiteX84" fmla="*/ 154972 w 179641"/>
                <a:gd name="connsiteY84" fmla="*/ 151638 h 179641"/>
                <a:gd name="connsiteX85" fmla="*/ 154686 w 179641"/>
                <a:gd name="connsiteY85" fmla="*/ 27813 h 179641"/>
                <a:gd name="connsiteX86" fmla="*/ 179642 w 179641"/>
                <a:gd name="connsiteY86" fmla="*/ 89821 h 179641"/>
                <a:gd name="connsiteX87" fmla="*/ 158687 w 179641"/>
                <a:gd name="connsiteY87" fmla="*/ 147352 h 179641"/>
                <a:gd name="connsiteX88" fmla="*/ 48768 w 179641"/>
                <a:gd name="connsiteY88" fmla="*/ 147352 h 179641"/>
                <a:gd name="connsiteX89" fmla="*/ 44863 w 179641"/>
                <a:gd name="connsiteY89" fmla="*/ 144780 h 179641"/>
                <a:gd name="connsiteX90" fmla="*/ 48768 w 179641"/>
                <a:gd name="connsiteY90" fmla="*/ 142113 h 179641"/>
                <a:gd name="connsiteX91" fmla="*/ 49530 w 179641"/>
                <a:gd name="connsiteY91" fmla="*/ 142113 h 179641"/>
                <a:gd name="connsiteX92" fmla="*/ 49530 w 179641"/>
                <a:gd name="connsiteY92" fmla="*/ 145447 h 179641"/>
                <a:gd name="connsiteX93" fmla="*/ 111062 w 179641"/>
                <a:gd name="connsiteY93" fmla="*/ 145447 h 179641"/>
                <a:gd name="connsiteX94" fmla="*/ 111062 w 179641"/>
                <a:gd name="connsiteY94" fmla="*/ 142113 h 179641"/>
                <a:gd name="connsiteX95" fmla="*/ 113919 w 179641"/>
                <a:gd name="connsiteY95" fmla="*/ 142113 h 179641"/>
                <a:gd name="connsiteX96" fmla="*/ 121825 w 179641"/>
                <a:gd name="connsiteY96" fmla="*/ 135255 h 179641"/>
                <a:gd name="connsiteX97" fmla="*/ 113919 w 179641"/>
                <a:gd name="connsiteY97" fmla="*/ 128302 h 179641"/>
                <a:gd name="connsiteX98" fmla="*/ 99536 w 179641"/>
                <a:gd name="connsiteY98" fmla="*/ 128302 h 179641"/>
                <a:gd name="connsiteX99" fmla="*/ 99536 w 179641"/>
                <a:gd name="connsiteY99" fmla="*/ 128397 h 179641"/>
                <a:gd name="connsiteX100" fmla="*/ 48863 w 179641"/>
                <a:gd name="connsiteY100" fmla="*/ 128397 h 179641"/>
                <a:gd name="connsiteX101" fmla="*/ 44958 w 179641"/>
                <a:gd name="connsiteY101" fmla="*/ 125825 h 179641"/>
                <a:gd name="connsiteX102" fmla="*/ 48863 w 179641"/>
                <a:gd name="connsiteY102" fmla="*/ 123158 h 179641"/>
                <a:gd name="connsiteX103" fmla="*/ 49625 w 179641"/>
                <a:gd name="connsiteY103" fmla="*/ 123158 h 179641"/>
                <a:gd name="connsiteX104" fmla="*/ 49625 w 179641"/>
                <a:gd name="connsiteY104" fmla="*/ 126397 h 179641"/>
                <a:gd name="connsiteX105" fmla="*/ 111157 w 179641"/>
                <a:gd name="connsiteY105" fmla="*/ 126397 h 179641"/>
                <a:gd name="connsiteX106" fmla="*/ 111157 w 179641"/>
                <a:gd name="connsiteY106" fmla="*/ 123158 h 179641"/>
                <a:gd name="connsiteX107" fmla="*/ 114014 w 179641"/>
                <a:gd name="connsiteY107" fmla="*/ 123158 h 179641"/>
                <a:gd name="connsiteX108" fmla="*/ 121920 w 179641"/>
                <a:gd name="connsiteY108" fmla="*/ 116300 h 179641"/>
                <a:gd name="connsiteX109" fmla="*/ 114014 w 179641"/>
                <a:gd name="connsiteY109" fmla="*/ 109347 h 179641"/>
                <a:gd name="connsiteX110" fmla="*/ 99632 w 179641"/>
                <a:gd name="connsiteY110" fmla="*/ 109347 h 179641"/>
                <a:gd name="connsiteX111" fmla="*/ 99632 w 179641"/>
                <a:gd name="connsiteY111" fmla="*/ 109347 h 179641"/>
                <a:gd name="connsiteX112" fmla="*/ 48958 w 179641"/>
                <a:gd name="connsiteY112" fmla="*/ 109347 h 179641"/>
                <a:gd name="connsiteX113" fmla="*/ 45053 w 179641"/>
                <a:gd name="connsiteY113" fmla="*/ 106775 h 179641"/>
                <a:gd name="connsiteX114" fmla="*/ 48958 w 179641"/>
                <a:gd name="connsiteY114" fmla="*/ 104108 h 179641"/>
                <a:gd name="connsiteX115" fmla="*/ 49721 w 179641"/>
                <a:gd name="connsiteY115" fmla="*/ 104108 h 179641"/>
                <a:gd name="connsiteX116" fmla="*/ 49721 w 179641"/>
                <a:gd name="connsiteY116" fmla="*/ 107442 h 179641"/>
                <a:gd name="connsiteX117" fmla="*/ 111252 w 179641"/>
                <a:gd name="connsiteY117" fmla="*/ 107442 h 179641"/>
                <a:gd name="connsiteX118" fmla="*/ 111252 w 179641"/>
                <a:gd name="connsiteY118" fmla="*/ 104108 h 179641"/>
                <a:gd name="connsiteX119" fmla="*/ 114109 w 179641"/>
                <a:gd name="connsiteY119" fmla="*/ 104108 h 179641"/>
                <a:gd name="connsiteX120" fmla="*/ 122015 w 179641"/>
                <a:gd name="connsiteY120" fmla="*/ 97250 h 179641"/>
                <a:gd name="connsiteX121" fmla="*/ 114109 w 179641"/>
                <a:gd name="connsiteY121" fmla="*/ 90297 h 179641"/>
                <a:gd name="connsiteX122" fmla="*/ 99727 w 179641"/>
                <a:gd name="connsiteY122" fmla="*/ 90297 h 179641"/>
                <a:gd name="connsiteX123" fmla="*/ 99727 w 179641"/>
                <a:gd name="connsiteY123" fmla="*/ 90392 h 179641"/>
                <a:gd name="connsiteX124" fmla="*/ 49054 w 179641"/>
                <a:gd name="connsiteY124" fmla="*/ 90392 h 179641"/>
                <a:gd name="connsiteX125" fmla="*/ 45149 w 179641"/>
                <a:gd name="connsiteY125" fmla="*/ 87821 h 179641"/>
                <a:gd name="connsiteX126" fmla="*/ 49054 w 179641"/>
                <a:gd name="connsiteY126" fmla="*/ 85154 h 179641"/>
                <a:gd name="connsiteX127" fmla="*/ 49816 w 179641"/>
                <a:gd name="connsiteY127" fmla="*/ 85154 h 179641"/>
                <a:gd name="connsiteX128" fmla="*/ 49816 w 179641"/>
                <a:gd name="connsiteY128" fmla="*/ 88583 h 179641"/>
                <a:gd name="connsiteX129" fmla="*/ 111347 w 179641"/>
                <a:gd name="connsiteY129" fmla="*/ 88583 h 179641"/>
                <a:gd name="connsiteX130" fmla="*/ 111347 w 179641"/>
                <a:gd name="connsiteY130" fmla="*/ 85154 h 179641"/>
                <a:gd name="connsiteX131" fmla="*/ 114205 w 179641"/>
                <a:gd name="connsiteY131" fmla="*/ 85154 h 179641"/>
                <a:gd name="connsiteX132" fmla="*/ 122111 w 179641"/>
                <a:gd name="connsiteY132" fmla="*/ 78296 h 179641"/>
                <a:gd name="connsiteX133" fmla="*/ 114205 w 179641"/>
                <a:gd name="connsiteY133" fmla="*/ 71342 h 179641"/>
                <a:gd name="connsiteX134" fmla="*/ 99822 w 179641"/>
                <a:gd name="connsiteY134" fmla="*/ 71342 h 179641"/>
                <a:gd name="connsiteX135" fmla="*/ 99822 w 179641"/>
                <a:gd name="connsiteY135" fmla="*/ 71342 h 179641"/>
                <a:gd name="connsiteX136" fmla="*/ 49149 w 179641"/>
                <a:gd name="connsiteY136" fmla="*/ 71342 h 179641"/>
                <a:gd name="connsiteX137" fmla="*/ 45244 w 179641"/>
                <a:gd name="connsiteY137" fmla="*/ 68771 h 179641"/>
                <a:gd name="connsiteX138" fmla="*/ 49149 w 179641"/>
                <a:gd name="connsiteY138" fmla="*/ 66104 h 179641"/>
                <a:gd name="connsiteX139" fmla="*/ 49911 w 179641"/>
                <a:gd name="connsiteY139" fmla="*/ 66104 h 179641"/>
                <a:gd name="connsiteX140" fmla="*/ 49911 w 179641"/>
                <a:gd name="connsiteY140" fmla="*/ 69342 h 179641"/>
                <a:gd name="connsiteX141" fmla="*/ 111442 w 179641"/>
                <a:gd name="connsiteY141" fmla="*/ 69342 h 179641"/>
                <a:gd name="connsiteX142" fmla="*/ 111442 w 179641"/>
                <a:gd name="connsiteY142" fmla="*/ 66104 h 179641"/>
                <a:gd name="connsiteX143" fmla="*/ 114205 w 179641"/>
                <a:gd name="connsiteY143" fmla="*/ 66104 h 179641"/>
                <a:gd name="connsiteX144" fmla="*/ 122111 w 179641"/>
                <a:gd name="connsiteY144" fmla="*/ 59246 h 179641"/>
                <a:gd name="connsiteX145" fmla="*/ 114205 w 179641"/>
                <a:gd name="connsiteY145" fmla="*/ 52292 h 179641"/>
                <a:gd name="connsiteX146" fmla="*/ 114205 w 179641"/>
                <a:gd name="connsiteY146" fmla="*/ 52197 h 179641"/>
                <a:gd name="connsiteX147" fmla="*/ 49054 w 179641"/>
                <a:gd name="connsiteY147" fmla="*/ 52197 h 179641"/>
                <a:gd name="connsiteX148" fmla="*/ 45149 w 179641"/>
                <a:gd name="connsiteY148" fmla="*/ 49625 h 179641"/>
                <a:gd name="connsiteX149" fmla="*/ 49054 w 179641"/>
                <a:gd name="connsiteY149" fmla="*/ 46958 h 179641"/>
                <a:gd name="connsiteX150" fmla="*/ 49816 w 179641"/>
                <a:gd name="connsiteY150" fmla="*/ 46958 h 179641"/>
                <a:gd name="connsiteX151" fmla="*/ 49721 w 179641"/>
                <a:gd name="connsiteY151" fmla="*/ 50387 h 179641"/>
                <a:gd name="connsiteX152" fmla="*/ 111252 w 179641"/>
                <a:gd name="connsiteY152" fmla="*/ 50387 h 179641"/>
                <a:gd name="connsiteX153" fmla="*/ 111347 w 179641"/>
                <a:gd name="connsiteY153" fmla="*/ 46958 h 179641"/>
                <a:gd name="connsiteX154" fmla="*/ 114205 w 179641"/>
                <a:gd name="connsiteY154" fmla="*/ 46958 h 179641"/>
                <a:gd name="connsiteX155" fmla="*/ 122111 w 179641"/>
                <a:gd name="connsiteY155" fmla="*/ 40100 h 179641"/>
                <a:gd name="connsiteX156" fmla="*/ 114205 w 179641"/>
                <a:gd name="connsiteY156" fmla="*/ 33147 h 179641"/>
                <a:gd name="connsiteX157" fmla="*/ 114205 w 179641"/>
                <a:gd name="connsiteY157" fmla="*/ 33052 h 179641"/>
                <a:gd name="connsiteX158" fmla="*/ 49054 w 179641"/>
                <a:gd name="connsiteY158" fmla="*/ 33052 h 179641"/>
                <a:gd name="connsiteX159" fmla="*/ 45149 w 179641"/>
                <a:gd name="connsiteY159" fmla="*/ 30480 h 179641"/>
                <a:gd name="connsiteX160" fmla="*/ 49054 w 179641"/>
                <a:gd name="connsiteY160" fmla="*/ 27813 h 179641"/>
                <a:gd name="connsiteX161" fmla="*/ 49911 w 179641"/>
                <a:gd name="connsiteY161" fmla="*/ 27813 h 179641"/>
                <a:gd name="connsiteX162" fmla="*/ 49911 w 179641"/>
                <a:gd name="connsiteY162" fmla="*/ 30956 h 179641"/>
                <a:gd name="connsiteX163" fmla="*/ 111442 w 179641"/>
                <a:gd name="connsiteY163" fmla="*/ 30956 h 179641"/>
                <a:gd name="connsiteX164" fmla="*/ 111442 w 179641"/>
                <a:gd name="connsiteY164" fmla="*/ 27813 h 179641"/>
                <a:gd name="connsiteX165" fmla="*/ 154686 w 179641"/>
                <a:gd name="connsiteY165" fmla="*/ 27813 h 179641"/>
                <a:gd name="connsiteX166" fmla="*/ 154686 w 179641"/>
                <a:gd name="connsiteY166" fmla="*/ 27813 h 179641"/>
                <a:gd name="connsiteX167" fmla="*/ 111062 w 179641"/>
                <a:gd name="connsiteY167" fmla="*/ 153543 h 179641"/>
                <a:gd name="connsiteX168" fmla="*/ 111062 w 179641"/>
                <a:gd name="connsiteY168" fmla="*/ 160592 h 179641"/>
                <a:gd name="connsiteX169" fmla="*/ 49530 w 179641"/>
                <a:gd name="connsiteY169" fmla="*/ 160592 h 179641"/>
                <a:gd name="connsiteX170" fmla="*/ 49530 w 179641"/>
                <a:gd name="connsiteY170" fmla="*/ 153543 h 179641"/>
                <a:gd name="connsiteX171" fmla="*/ 111062 w 179641"/>
                <a:gd name="connsiteY171" fmla="*/ 153543 h 179641"/>
                <a:gd name="connsiteX172" fmla="*/ 111062 w 179641"/>
                <a:gd name="connsiteY172" fmla="*/ 153543 h 17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79641" h="179641">
                  <a:moveTo>
                    <a:pt x="154972" y="151638"/>
                  </a:moveTo>
                  <a:cubicBezTo>
                    <a:pt x="138589" y="168878"/>
                    <a:pt x="115443" y="179642"/>
                    <a:pt x="89821" y="179642"/>
                  </a:cubicBezTo>
                  <a:cubicBezTo>
                    <a:pt x="40291" y="179642"/>
                    <a:pt x="0" y="139446"/>
                    <a:pt x="0" y="89821"/>
                  </a:cubicBezTo>
                  <a:cubicBezTo>
                    <a:pt x="0" y="40291"/>
                    <a:pt x="40196" y="0"/>
                    <a:pt x="89821" y="0"/>
                  </a:cubicBezTo>
                  <a:cubicBezTo>
                    <a:pt x="113062" y="0"/>
                    <a:pt x="134303" y="8858"/>
                    <a:pt x="150304" y="23432"/>
                  </a:cubicBezTo>
                  <a:lnTo>
                    <a:pt x="111157" y="23432"/>
                  </a:lnTo>
                  <a:lnTo>
                    <a:pt x="111062" y="19050"/>
                  </a:lnTo>
                  <a:lnTo>
                    <a:pt x="49530" y="19050"/>
                  </a:lnTo>
                  <a:lnTo>
                    <a:pt x="49530" y="23432"/>
                  </a:lnTo>
                  <a:lnTo>
                    <a:pt x="48768" y="23432"/>
                  </a:lnTo>
                  <a:cubicBezTo>
                    <a:pt x="48768" y="23432"/>
                    <a:pt x="40672" y="23432"/>
                    <a:pt x="40672" y="30480"/>
                  </a:cubicBezTo>
                  <a:cubicBezTo>
                    <a:pt x="40672" y="37243"/>
                    <a:pt x="48578" y="37243"/>
                    <a:pt x="48578" y="37243"/>
                  </a:cubicBezTo>
                  <a:lnTo>
                    <a:pt x="99155" y="37243"/>
                  </a:lnTo>
                  <a:lnTo>
                    <a:pt x="99155" y="37338"/>
                  </a:lnTo>
                  <a:lnTo>
                    <a:pt x="113729" y="37243"/>
                  </a:lnTo>
                  <a:cubicBezTo>
                    <a:pt x="113729" y="37243"/>
                    <a:pt x="117538" y="37243"/>
                    <a:pt x="117538" y="40100"/>
                  </a:cubicBezTo>
                  <a:cubicBezTo>
                    <a:pt x="117538" y="42958"/>
                    <a:pt x="113729" y="42577"/>
                    <a:pt x="113729" y="42577"/>
                  </a:cubicBezTo>
                  <a:lnTo>
                    <a:pt x="110966" y="42577"/>
                  </a:lnTo>
                  <a:lnTo>
                    <a:pt x="111062" y="39053"/>
                  </a:lnTo>
                  <a:lnTo>
                    <a:pt x="49530" y="39053"/>
                  </a:lnTo>
                  <a:lnTo>
                    <a:pt x="49435" y="42577"/>
                  </a:lnTo>
                  <a:lnTo>
                    <a:pt x="48673" y="42577"/>
                  </a:lnTo>
                  <a:cubicBezTo>
                    <a:pt x="48673" y="42577"/>
                    <a:pt x="40576" y="42577"/>
                    <a:pt x="40576" y="49625"/>
                  </a:cubicBezTo>
                  <a:cubicBezTo>
                    <a:pt x="40576" y="56388"/>
                    <a:pt x="48482" y="56388"/>
                    <a:pt x="48482" y="56388"/>
                  </a:cubicBezTo>
                  <a:lnTo>
                    <a:pt x="99060" y="56388"/>
                  </a:lnTo>
                  <a:lnTo>
                    <a:pt x="99060" y="56483"/>
                  </a:lnTo>
                  <a:lnTo>
                    <a:pt x="113633" y="56388"/>
                  </a:lnTo>
                  <a:cubicBezTo>
                    <a:pt x="113633" y="56388"/>
                    <a:pt x="117443" y="56388"/>
                    <a:pt x="117443" y="59246"/>
                  </a:cubicBezTo>
                  <a:cubicBezTo>
                    <a:pt x="117443" y="62103"/>
                    <a:pt x="113633" y="61722"/>
                    <a:pt x="113633" y="61722"/>
                  </a:cubicBezTo>
                  <a:lnTo>
                    <a:pt x="110871" y="61722"/>
                  </a:lnTo>
                  <a:lnTo>
                    <a:pt x="110871" y="58484"/>
                  </a:lnTo>
                  <a:lnTo>
                    <a:pt x="49340" y="58484"/>
                  </a:lnTo>
                  <a:lnTo>
                    <a:pt x="49340" y="61722"/>
                  </a:lnTo>
                  <a:lnTo>
                    <a:pt x="48673" y="61722"/>
                  </a:lnTo>
                  <a:cubicBezTo>
                    <a:pt x="48673" y="61722"/>
                    <a:pt x="40576" y="61722"/>
                    <a:pt x="40576" y="68771"/>
                  </a:cubicBezTo>
                  <a:cubicBezTo>
                    <a:pt x="40576" y="75533"/>
                    <a:pt x="48482" y="75533"/>
                    <a:pt x="48482" y="75533"/>
                  </a:cubicBezTo>
                  <a:lnTo>
                    <a:pt x="113633" y="75533"/>
                  </a:lnTo>
                  <a:lnTo>
                    <a:pt x="113633" y="75438"/>
                  </a:lnTo>
                  <a:cubicBezTo>
                    <a:pt x="113633" y="75438"/>
                    <a:pt x="117443" y="75438"/>
                    <a:pt x="117443" y="78296"/>
                  </a:cubicBezTo>
                  <a:cubicBezTo>
                    <a:pt x="117443" y="81153"/>
                    <a:pt x="113633" y="80772"/>
                    <a:pt x="113633" y="80772"/>
                  </a:cubicBezTo>
                  <a:lnTo>
                    <a:pt x="110776" y="80772"/>
                  </a:lnTo>
                  <a:lnTo>
                    <a:pt x="110776" y="77438"/>
                  </a:lnTo>
                  <a:lnTo>
                    <a:pt x="49244" y="77438"/>
                  </a:lnTo>
                  <a:lnTo>
                    <a:pt x="49244" y="80772"/>
                  </a:lnTo>
                  <a:lnTo>
                    <a:pt x="48578" y="80772"/>
                  </a:lnTo>
                  <a:cubicBezTo>
                    <a:pt x="48578" y="80772"/>
                    <a:pt x="40481" y="80772"/>
                    <a:pt x="40481" y="87821"/>
                  </a:cubicBezTo>
                  <a:cubicBezTo>
                    <a:pt x="40481" y="94583"/>
                    <a:pt x="48387" y="94583"/>
                    <a:pt x="48387" y="94583"/>
                  </a:cubicBezTo>
                  <a:lnTo>
                    <a:pt x="113538" y="94583"/>
                  </a:lnTo>
                  <a:lnTo>
                    <a:pt x="113538" y="94488"/>
                  </a:lnTo>
                  <a:cubicBezTo>
                    <a:pt x="113538" y="94488"/>
                    <a:pt x="117348" y="94488"/>
                    <a:pt x="117348" y="97346"/>
                  </a:cubicBezTo>
                  <a:cubicBezTo>
                    <a:pt x="117348" y="100203"/>
                    <a:pt x="113538" y="99822"/>
                    <a:pt x="113538" y="99822"/>
                  </a:cubicBezTo>
                  <a:lnTo>
                    <a:pt x="110680" y="99822"/>
                  </a:lnTo>
                  <a:lnTo>
                    <a:pt x="110680" y="96488"/>
                  </a:lnTo>
                  <a:lnTo>
                    <a:pt x="49149" y="96488"/>
                  </a:lnTo>
                  <a:lnTo>
                    <a:pt x="49149" y="99822"/>
                  </a:lnTo>
                  <a:lnTo>
                    <a:pt x="48482" y="99822"/>
                  </a:lnTo>
                  <a:cubicBezTo>
                    <a:pt x="48482" y="99822"/>
                    <a:pt x="40386" y="99822"/>
                    <a:pt x="40386" y="106871"/>
                  </a:cubicBezTo>
                  <a:cubicBezTo>
                    <a:pt x="40386" y="113633"/>
                    <a:pt x="48292" y="113633"/>
                    <a:pt x="48292" y="113633"/>
                  </a:cubicBezTo>
                  <a:lnTo>
                    <a:pt x="98870" y="113633"/>
                  </a:lnTo>
                  <a:lnTo>
                    <a:pt x="98870" y="113633"/>
                  </a:lnTo>
                  <a:lnTo>
                    <a:pt x="100108" y="113633"/>
                  </a:lnTo>
                  <a:lnTo>
                    <a:pt x="113443" y="113633"/>
                  </a:lnTo>
                  <a:lnTo>
                    <a:pt x="113443" y="113538"/>
                  </a:lnTo>
                  <a:cubicBezTo>
                    <a:pt x="113443" y="113538"/>
                    <a:pt x="117253" y="113538"/>
                    <a:pt x="117253" y="116396"/>
                  </a:cubicBezTo>
                  <a:cubicBezTo>
                    <a:pt x="117253" y="119253"/>
                    <a:pt x="113443" y="118872"/>
                    <a:pt x="113443" y="118872"/>
                  </a:cubicBezTo>
                  <a:lnTo>
                    <a:pt x="110585" y="118872"/>
                  </a:lnTo>
                  <a:lnTo>
                    <a:pt x="110585" y="115443"/>
                  </a:lnTo>
                  <a:lnTo>
                    <a:pt x="49054" y="115443"/>
                  </a:lnTo>
                  <a:lnTo>
                    <a:pt x="49054" y="118872"/>
                  </a:lnTo>
                  <a:lnTo>
                    <a:pt x="48387" y="118872"/>
                  </a:lnTo>
                  <a:cubicBezTo>
                    <a:pt x="48387" y="118872"/>
                    <a:pt x="40291" y="118872"/>
                    <a:pt x="40291" y="125921"/>
                  </a:cubicBezTo>
                  <a:cubicBezTo>
                    <a:pt x="40291" y="132683"/>
                    <a:pt x="48196" y="132683"/>
                    <a:pt x="48196" y="132683"/>
                  </a:cubicBezTo>
                  <a:lnTo>
                    <a:pt x="113348" y="132683"/>
                  </a:lnTo>
                  <a:lnTo>
                    <a:pt x="113348" y="132588"/>
                  </a:lnTo>
                  <a:cubicBezTo>
                    <a:pt x="113348" y="132588"/>
                    <a:pt x="117158" y="132588"/>
                    <a:pt x="117158" y="135446"/>
                  </a:cubicBezTo>
                  <a:cubicBezTo>
                    <a:pt x="117158" y="138303"/>
                    <a:pt x="113348" y="137922"/>
                    <a:pt x="113348" y="137922"/>
                  </a:cubicBezTo>
                  <a:lnTo>
                    <a:pt x="110490" y="137922"/>
                  </a:lnTo>
                  <a:lnTo>
                    <a:pt x="110490" y="134588"/>
                  </a:lnTo>
                  <a:lnTo>
                    <a:pt x="48958" y="134588"/>
                  </a:lnTo>
                  <a:lnTo>
                    <a:pt x="48958" y="137922"/>
                  </a:lnTo>
                  <a:lnTo>
                    <a:pt x="48292" y="137922"/>
                  </a:lnTo>
                  <a:cubicBezTo>
                    <a:pt x="48292" y="137922"/>
                    <a:pt x="40196" y="137922"/>
                    <a:pt x="40196" y="144971"/>
                  </a:cubicBezTo>
                  <a:cubicBezTo>
                    <a:pt x="40196" y="151733"/>
                    <a:pt x="48101" y="151733"/>
                    <a:pt x="48101" y="151733"/>
                  </a:cubicBezTo>
                  <a:lnTo>
                    <a:pt x="154972" y="151733"/>
                  </a:lnTo>
                  <a:lnTo>
                    <a:pt x="154972" y="151638"/>
                  </a:lnTo>
                  <a:close/>
                  <a:moveTo>
                    <a:pt x="154686" y="27813"/>
                  </a:moveTo>
                  <a:cubicBezTo>
                    <a:pt x="170117" y="43910"/>
                    <a:pt x="179642" y="65818"/>
                    <a:pt x="179642" y="89821"/>
                  </a:cubicBezTo>
                  <a:cubicBezTo>
                    <a:pt x="179642" y="111728"/>
                    <a:pt x="171736" y="131826"/>
                    <a:pt x="158687" y="147352"/>
                  </a:cubicBezTo>
                  <a:lnTo>
                    <a:pt x="48768" y="147352"/>
                  </a:lnTo>
                  <a:cubicBezTo>
                    <a:pt x="48768" y="147352"/>
                    <a:pt x="44958" y="147447"/>
                    <a:pt x="44863" y="144780"/>
                  </a:cubicBezTo>
                  <a:cubicBezTo>
                    <a:pt x="44767" y="142018"/>
                    <a:pt x="48768" y="142113"/>
                    <a:pt x="48768" y="142113"/>
                  </a:cubicBezTo>
                  <a:lnTo>
                    <a:pt x="49530" y="142113"/>
                  </a:lnTo>
                  <a:lnTo>
                    <a:pt x="49530" y="145447"/>
                  </a:lnTo>
                  <a:lnTo>
                    <a:pt x="111062" y="145447"/>
                  </a:lnTo>
                  <a:lnTo>
                    <a:pt x="111062" y="142113"/>
                  </a:lnTo>
                  <a:lnTo>
                    <a:pt x="113919" y="142113"/>
                  </a:lnTo>
                  <a:cubicBezTo>
                    <a:pt x="113919" y="142113"/>
                    <a:pt x="121825" y="142113"/>
                    <a:pt x="121825" y="135255"/>
                  </a:cubicBezTo>
                  <a:cubicBezTo>
                    <a:pt x="121825" y="128302"/>
                    <a:pt x="113919" y="128302"/>
                    <a:pt x="113919" y="128302"/>
                  </a:cubicBezTo>
                  <a:lnTo>
                    <a:pt x="99536" y="128302"/>
                  </a:lnTo>
                  <a:lnTo>
                    <a:pt x="99536" y="128397"/>
                  </a:lnTo>
                  <a:lnTo>
                    <a:pt x="48863" y="128397"/>
                  </a:lnTo>
                  <a:cubicBezTo>
                    <a:pt x="48863" y="128397"/>
                    <a:pt x="45053" y="128492"/>
                    <a:pt x="44958" y="125825"/>
                  </a:cubicBezTo>
                  <a:cubicBezTo>
                    <a:pt x="44863" y="123063"/>
                    <a:pt x="48863" y="123158"/>
                    <a:pt x="48863" y="123158"/>
                  </a:cubicBezTo>
                  <a:lnTo>
                    <a:pt x="49625" y="123158"/>
                  </a:lnTo>
                  <a:lnTo>
                    <a:pt x="49625" y="126397"/>
                  </a:lnTo>
                  <a:lnTo>
                    <a:pt x="111157" y="126397"/>
                  </a:lnTo>
                  <a:lnTo>
                    <a:pt x="111157" y="123158"/>
                  </a:lnTo>
                  <a:lnTo>
                    <a:pt x="114014" y="123158"/>
                  </a:lnTo>
                  <a:cubicBezTo>
                    <a:pt x="114014" y="123158"/>
                    <a:pt x="121920" y="123158"/>
                    <a:pt x="121920" y="116300"/>
                  </a:cubicBezTo>
                  <a:cubicBezTo>
                    <a:pt x="121920" y="109347"/>
                    <a:pt x="114014" y="109347"/>
                    <a:pt x="114014" y="109347"/>
                  </a:cubicBezTo>
                  <a:lnTo>
                    <a:pt x="99632" y="109347"/>
                  </a:lnTo>
                  <a:lnTo>
                    <a:pt x="99632" y="109347"/>
                  </a:lnTo>
                  <a:lnTo>
                    <a:pt x="48958" y="109347"/>
                  </a:lnTo>
                  <a:cubicBezTo>
                    <a:pt x="48958" y="109347"/>
                    <a:pt x="45149" y="109442"/>
                    <a:pt x="45053" y="106775"/>
                  </a:cubicBezTo>
                  <a:cubicBezTo>
                    <a:pt x="44958" y="104013"/>
                    <a:pt x="48958" y="104108"/>
                    <a:pt x="48958" y="104108"/>
                  </a:cubicBezTo>
                  <a:lnTo>
                    <a:pt x="49721" y="104108"/>
                  </a:lnTo>
                  <a:lnTo>
                    <a:pt x="49721" y="107442"/>
                  </a:lnTo>
                  <a:lnTo>
                    <a:pt x="111252" y="107442"/>
                  </a:lnTo>
                  <a:lnTo>
                    <a:pt x="111252" y="104108"/>
                  </a:lnTo>
                  <a:lnTo>
                    <a:pt x="114109" y="104108"/>
                  </a:lnTo>
                  <a:cubicBezTo>
                    <a:pt x="114109" y="104108"/>
                    <a:pt x="122015" y="104108"/>
                    <a:pt x="122015" y="97250"/>
                  </a:cubicBezTo>
                  <a:cubicBezTo>
                    <a:pt x="122015" y="90297"/>
                    <a:pt x="114109" y="90297"/>
                    <a:pt x="114109" y="90297"/>
                  </a:cubicBezTo>
                  <a:lnTo>
                    <a:pt x="99727" y="90297"/>
                  </a:lnTo>
                  <a:lnTo>
                    <a:pt x="99727" y="90392"/>
                  </a:lnTo>
                  <a:lnTo>
                    <a:pt x="49054" y="90392"/>
                  </a:lnTo>
                  <a:cubicBezTo>
                    <a:pt x="49054" y="90392"/>
                    <a:pt x="45244" y="90488"/>
                    <a:pt x="45149" y="87821"/>
                  </a:cubicBezTo>
                  <a:cubicBezTo>
                    <a:pt x="45053" y="85058"/>
                    <a:pt x="49054" y="85154"/>
                    <a:pt x="49054" y="85154"/>
                  </a:cubicBezTo>
                  <a:lnTo>
                    <a:pt x="49816" y="85154"/>
                  </a:lnTo>
                  <a:lnTo>
                    <a:pt x="49816" y="88583"/>
                  </a:lnTo>
                  <a:lnTo>
                    <a:pt x="111347" y="88583"/>
                  </a:lnTo>
                  <a:lnTo>
                    <a:pt x="111347" y="85154"/>
                  </a:lnTo>
                  <a:lnTo>
                    <a:pt x="114205" y="85154"/>
                  </a:lnTo>
                  <a:cubicBezTo>
                    <a:pt x="114205" y="85154"/>
                    <a:pt x="122111" y="85154"/>
                    <a:pt x="122111" y="78296"/>
                  </a:cubicBezTo>
                  <a:cubicBezTo>
                    <a:pt x="122111" y="71342"/>
                    <a:pt x="114205" y="71342"/>
                    <a:pt x="114205" y="71342"/>
                  </a:cubicBezTo>
                  <a:lnTo>
                    <a:pt x="99822" y="71342"/>
                  </a:lnTo>
                  <a:lnTo>
                    <a:pt x="99822" y="71342"/>
                  </a:lnTo>
                  <a:lnTo>
                    <a:pt x="49149" y="71342"/>
                  </a:lnTo>
                  <a:cubicBezTo>
                    <a:pt x="49149" y="71342"/>
                    <a:pt x="45339" y="71438"/>
                    <a:pt x="45244" y="68771"/>
                  </a:cubicBezTo>
                  <a:cubicBezTo>
                    <a:pt x="45149" y="66008"/>
                    <a:pt x="49149" y="66104"/>
                    <a:pt x="49149" y="66104"/>
                  </a:cubicBezTo>
                  <a:lnTo>
                    <a:pt x="49911" y="66104"/>
                  </a:lnTo>
                  <a:lnTo>
                    <a:pt x="49911" y="69342"/>
                  </a:lnTo>
                  <a:lnTo>
                    <a:pt x="111442" y="69342"/>
                  </a:lnTo>
                  <a:lnTo>
                    <a:pt x="111442" y="66104"/>
                  </a:lnTo>
                  <a:lnTo>
                    <a:pt x="114205" y="66104"/>
                  </a:lnTo>
                  <a:cubicBezTo>
                    <a:pt x="114205" y="66104"/>
                    <a:pt x="122111" y="66104"/>
                    <a:pt x="122111" y="59246"/>
                  </a:cubicBezTo>
                  <a:cubicBezTo>
                    <a:pt x="122111" y="52578"/>
                    <a:pt x="114871" y="52292"/>
                    <a:pt x="114205" y="52292"/>
                  </a:cubicBezTo>
                  <a:lnTo>
                    <a:pt x="114205" y="52197"/>
                  </a:lnTo>
                  <a:lnTo>
                    <a:pt x="49054" y="52197"/>
                  </a:lnTo>
                  <a:cubicBezTo>
                    <a:pt x="49054" y="52197"/>
                    <a:pt x="45244" y="52292"/>
                    <a:pt x="45149" y="49625"/>
                  </a:cubicBezTo>
                  <a:cubicBezTo>
                    <a:pt x="45053" y="46863"/>
                    <a:pt x="49054" y="46958"/>
                    <a:pt x="49054" y="46958"/>
                  </a:cubicBezTo>
                  <a:lnTo>
                    <a:pt x="49816" y="46958"/>
                  </a:lnTo>
                  <a:lnTo>
                    <a:pt x="49721" y="50387"/>
                  </a:lnTo>
                  <a:lnTo>
                    <a:pt x="111252" y="50387"/>
                  </a:lnTo>
                  <a:lnTo>
                    <a:pt x="111347" y="46958"/>
                  </a:lnTo>
                  <a:lnTo>
                    <a:pt x="114205" y="46958"/>
                  </a:lnTo>
                  <a:cubicBezTo>
                    <a:pt x="114205" y="46958"/>
                    <a:pt x="122111" y="46958"/>
                    <a:pt x="122111" y="40100"/>
                  </a:cubicBezTo>
                  <a:cubicBezTo>
                    <a:pt x="122111" y="33433"/>
                    <a:pt x="114871" y="33147"/>
                    <a:pt x="114205" y="33147"/>
                  </a:cubicBezTo>
                  <a:lnTo>
                    <a:pt x="114205" y="33052"/>
                  </a:lnTo>
                  <a:lnTo>
                    <a:pt x="49054" y="33052"/>
                  </a:lnTo>
                  <a:cubicBezTo>
                    <a:pt x="49054" y="33052"/>
                    <a:pt x="45244" y="33147"/>
                    <a:pt x="45149" y="30480"/>
                  </a:cubicBezTo>
                  <a:cubicBezTo>
                    <a:pt x="45053" y="27718"/>
                    <a:pt x="49054" y="27813"/>
                    <a:pt x="49054" y="27813"/>
                  </a:cubicBezTo>
                  <a:lnTo>
                    <a:pt x="49911" y="27813"/>
                  </a:lnTo>
                  <a:lnTo>
                    <a:pt x="49911" y="30956"/>
                  </a:lnTo>
                  <a:lnTo>
                    <a:pt x="111442" y="30956"/>
                  </a:lnTo>
                  <a:lnTo>
                    <a:pt x="111442" y="27813"/>
                  </a:lnTo>
                  <a:lnTo>
                    <a:pt x="154686" y="27813"/>
                  </a:lnTo>
                  <a:lnTo>
                    <a:pt x="154686" y="27813"/>
                  </a:lnTo>
                  <a:close/>
                  <a:moveTo>
                    <a:pt x="111062" y="153543"/>
                  </a:moveTo>
                  <a:lnTo>
                    <a:pt x="111062" y="160592"/>
                  </a:lnTo>
                  <a:lnTo>
                    <a:pt x="49530" y="160592"/>
                  </a:lnTo>
                  <a:lnTo>
                    <a:pt x="49530" y="153543"/>
                  </a:lnTo>
                  <a:lnTo>
                    <a:pt x="111062" y="153543"/>
                  </a:lnTo>
                  <a:lnTo>
                    <a:pt x="111062" y="153543"/>
                  </a:ln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de-DE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97" name="Freihandform: Form 996">
              <a:extLst>
                <a:ext uri="{FF2B5EF4-FFF2-40B4-BE49-F238E27FC236}">
                  <a16:creationId xmlns:a16="http://schemas.microsoft.com/office/drawing/2014/main" id="{83E9D65A-19D2-9C12-A9B7-89F4805BAA97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3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  <a:gd name="connsiteX5" fmla="*/ 213360 w 213359"/>
                <a:gd name="connsiteY5" fmla="*/ 109061 h 218122"/>
                <a:gd name="connsiteX6" fmla="*/ 201073 w 213359"/>
                <a:gd name="connsiteY6" fmla="*/ 109061 h 218122"/>
                <a:gd name="connsiteX7" fmla="*/ 106585 w 213359"/>
                <a:gd name="connsiteY7" fmla="*/ 202787 h 218122"/>
                <a:gd name="connsiteX8" fmla="*/ 12097 w 213359"/>
                <a:gd name="connsiteY8" fmla="*/ 109061 h 218122"/>
                <a:gd name="connsiteX9" fmla="*/ 106585 w 213359"/>
                <a:gd name="connsiteY9" fmla="*/ 15335 h 218122"/>
                <a:gd name="connsiteX10" fmla="*/ 201073 w 213359"/>
                <a:gd name="connsiteY10" fmla="*/ 109061 h 218122"/>
                <a:gd name="connsiteX11" fmla="*/ 201073 w 213359"/>
                <a:gd name="connsiteY11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59"/>
                    <a:pt x="165544" y="218123"/>
                    <a:pt x="106680" y="218123"/>
                  </a:cubicBezTo>
                  <a:cubicBezTo>
                    <a:pt x="47815" y="218123"/>
                    <a:pt x="0" y="169259"/>
                    <a:pt x="0" y="109061"/>
                  </a:cubicBezTo>
                  <a:cubicBezTo>
                    <a:pt x="0" y="48863"/>
                    <a:pt x="47815" y="0"/>
                    <a:pt x="106680" y="0"/>
                  </a:cubicBezTo>
                  <a:cubicBezTo>
                    <a:pt x="165544" y="0"/>
                    <a:pt x="213360" y="48863"/>
                    <a:pt x="213360" y="109061"/>
                  </a:cubicBezTo>
                  <a:lnTo>
                    <a:pt x="213360" y="109061"/>
                  </a:lnTo>
                  <a:close/>
                  <a:moveTo>
                    <a:pt x="201073" y="109061"/>
                  </a:moveTo>
                  <a:cubicBezTo>
                    <a:pt x="201073" y="160782"/>
                    <a:pt x="158782" y="202787"/>
                    <a:pt x="106585" y="202787"/>
                  </a:cubicBezTo>
                  <a:cubicBezTo>
                    <a:pt x="54388" y="202787"/>
                    <a:pt x="12097" y="160782"/>
                    <a:pt x="12097" y="109061"/>
                  </a:cubicBezTo>
                  <a:cubicBezTo>
                    <a:pt x="12097" y="57341"/>
                    <a:pt x="54388" y="15335"/>
                    <a:pt x="106585" y="15335"/>
                  </a:cubicBezTo>
                  <a:cubicBezTo>
                    <a:pt x="158782" y="15335"/>
                    <a:pt x="201073" y="57245"/>
                    <a:pt x="201073" y="109061"/>
                  </a:cubicBezTo>
                  <a:lnTo>
                    <a:pt x="201073" y="10906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de-DE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pic>
        <p:nvPicPr>
          <p:cNvPr id="971" name="Grafik 970">
            <a:extLst>
              <a:ext uri="{FF2B5EF4-FFF2-40B4-BE49-F238E27FC236}">
                <a16:creationId xmlns:a16="http://schemas.microsoft.com/office/drawing/2014/main" id="{8083C606-6506-758F-0BA3-EFC602D901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72894" y="1928513"/>
            <a:ext cx="487410" cy="361865"/>
          </a:xfrm>
          <a:prstGeom prst="rect">
            <a:avLst/>
          </a:prstGeom>
        </p:spPr>
      </p:pic>
      <p:pic>
        <p:nvPicPr>
          <p:cNvPr id="972" name="Grafik 971">
            <a:extLst>
              <a:ext uri="{FF2B5EF4-FFF2-40B4-BE49-F238E27FC236}">
                <a16:creationId xmlns:a16="http://schemas.microsoft.com/office/drawing/2014/main" id="{8C29C9FD-963C-71FD-4DD8-72451D84E4C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27168" y="3885957"/>
            <a:ext cx="853590" cy="556008"/>
          </a:xfrm>
          <a:prstGeom prst="rect">
            <a:avLst/>
          </a:prstGeom>
        </p:spPr>
      </p:pic>
      <p:pic>
        <p:nvPicPr>
          <p:cNvPr id="973" name="Grafik 972">
            <a:extLst>
              <a:ext uri="{FF2B5EF4-FFF2-40B4-BE49-F238E27FC236}">
                <a16:creationId xmlns:a16="http://schemas.microsoft.com/office/drawing/2014/main" id="{2CED9834-B9E0-5581-8C95-B73DE201C81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294249" y="2907235"/>
            <a:ext cx="487410" cy="361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14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4lKBHKazAbjvbLSiDr9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zC6EWwTOVmQqKvslqP_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R_kP4.sT99uKrggNYn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lTA6e9Uopf3vQOCoDs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rgbClr val="5A616B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126</Words>
  <Application>Microsoft Office PowerPoint</Application>
  <PresentationFormat>Widescreen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alibri Light</vt:lpstr>
      <vt:lpstr>Siemens Sans</vt:lpstr>
      <vt:lpstr>Times New Roman</vt:lpstr>
      <vt:lpstr>Wingdings</vt:lpstr>
      <vt:lpstr>Office Theme</vt:lpstr>
      <vt:lpstr>Siemens Energy</vt:lpstr>
      <vt:lpstr>think-cell Folie</vt:lpstr>
      <vt:lpstr>*Customer* – Heat Pump use case Performance and price indic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*Customer* – Heat Pump use case Performance and price indication</dc:title>
  <dc:creator>Awais Salman</dc:creator>
  <cp:lastModifiedBy>Awais Salman</cp:lastModifiedBy>
  <cp:revision>1</cp:revision>
  <dcterms:created xsi:type="dcterms:W3CDTF">2023-11-12T17:59:09Z</dcterms:created>
  <dcterms:modified xsi:type="dcterms:W3CDTF">2024-09-19T19:43:39Z</dcterms:modified>
</cp:coreProperties>
</file>